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4.xml" ContentType="application/vnd.openxmlformats-officedocument.presentationml.notesSlide+xml"/>
  <Override PartName="/ppt/tags/tag68.xml" ContentType="application/vnd.openxmlformats-officedocument.presentationml.tags+xml"/>
  <Override PartName="/ppt/notesSlides/notesSlide25.xml" ContentType="application/vnd.openxmlformats-officedocument.presentationml.notesSlide+xml"/>
  <Override PartName="/ppt/tags/tag69.xml" ContentType="application/vnd.openxmlformats-officedocument.presentationml.tags+xml"/>
  <Override PartName="/ppt/notesSlides/notesSlide26.xml" ContentType="application/vnd.openxmlformats-officedocument.presentationml.notesSlide+xml"/>
  <Override PartName="/ppt/tags/tag70.xml" ContentType="application/vnd.openxmlformats-officedocument.presentationml.tags+xml"/>
  <Override PartName="/ppt/notesSlides/notesSlide27.xml" ContentType="application/vnd.openxmlformats-officedocument.presentationml.notesSlide+xml"/>
  <Override PartName="/ppt/tags/tag71.xml" ContentType="application/vnd.openxmlformats-officedocument.presentationml.tags+xml"/>
  <Override PartName="/ppt/notesSlides/notesSlide28.xml" ContentType="application/vnd.openxmlformats-officedocument.presentationml.notesSlide+xml"/>
  <Override PartName="/ppt/tags/tag72.xml" ContentType="application/vnd.openxmlformats-officedocument.presentationml.tags+xml"/>
  <Override PartName="/ppt/notesSlides/notesSlide29.xml" ContentType="application/vnd.openxmlformats-officedocument.presentationml.notesSlide+xml"/>
  <Override PartName="/ppt/tags/tag73.xml" ContentType="application/vnd.openxmlformats-officedocument.presentationml.tags+xml"/>
  <Override PartName="/ppt/notesSlides/notesSlide30.xml" ContentType="application/vnd.openxmlformats-officedocument.presentationml.notesSlide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2.xml" ContentType="application/vnd.openxmlformats-officedocument.presentationml.notesSlide+xml"/>
  <Override PartName="/ppt/tags/tag78.xml" ContentType="application/vnd.openxmlformats-officedocument.presentationml.tags+xml"/>
  <Override PartName="/ppt/notesSlides/notesSlide33.xml" ContentType="application/vnd.openxmlformats-officedocument.presentationml.notesSlide+xml"/>
  <Override PartName="/ppt/tags/tag79.xml" ContentType="application/vnd.openxmlformats-officedocument.presentationml.tags+xml"/>
  <Override PartName="/ppt/notesSlides/notesSlide34.xml" ContentType="application/vnd.openxmlformats-officedocument.presentationml.notesSlide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tags/tag81.xml" ContentType="application/vnd.openxmlformats-officedocument.presentationml.tags+xml"/>
  <Override PartName="/ppt/notesSlides/notesSlide36.xml" ContentType="application/vnd.openxmlformats-officedocument.presentationml.notesSlide+xml"/>
  <Override PartName="/ppt/tags/tag82.xml" ContentType="application/vnd.openxmlformats-officedocument.presentationml.tags+xml"/>
  <Override PartName="/ppt/notesSlides/notesSlide37.xml" ContentType="application/vnd.openxmlformats-officedocument.presentationml.notesSlide+xml"/>
  <Override PartName="/ppt/tags/tag83.xml" ContentType="application/vnd.openxmlformats-officedocument.presentationml.tags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2" r:id="rId4"/>
  </p:sldMasterIdLst>
  <p:notesMasterIdLst>
    <p:notesMasterId r:id="rId53"/>
  </p:notesMasterIdLst>
  <p:sldIdLst>
    <p:sldId id="354" r:id="rId5"/>
    <p:sldId id="298" r:id="rId6"/>
    <p:sldId id="355" r:id="rId7"/>
    <p:sldId id="329" r:id="rId8"/>
    <p:sldId id="357" r:id="rId9"/>
    <p:sldId id="361" r:id="rId10"/>
    <p:sldId id="358" r:id="rId11"/>
    <p:sldId id="360" r:id="rId12"/>
    <p:sldId id="376" r:id="rId13"/>
    <p:sldId id="377" r:id="rId14"/>
    <p:sldId id="362" r:id="rId15"/>
    <p:sldId id="363" r:id="rId16"/>
    <p:sldId id="365" r:id="rId17"/>
    <p:sldId id="364" r:id="rId18"/>
    <p:sldId id="371" r:id="rId19"/>
    <p:sldId id="379" r:id="rId20"/>
    <p:sldId id="378" r:id="rId21"/>
    <p:sldId id="380" r:id="rId22"/>
    <p:sldId id="367" r:id="rId23"/>
    <p:sldId id="366" r:id="rId24"/>
    <p:sldId id="373" r:id="rId25"/>
    <p:sldId id="382" r:id="rId26"/>
    <p:sldId id="375" r:id="rId27"/>
    <p:sldId id="369" r:id="rId28"/>
    <p:sldId id="381" r:id="rId29"/>
    <p:sldId id="368" r:id="rId30"/>
    <p:sldId id="370" r:id="rId31"/>
    <p:sldId id="349" r:id="rId32"/>
    <p:sldId id="345" r:id="rId33"/>
    <p:sldId id="334" r:id="rId34"/>
    <p:sldId id="352" r:id="rId35"/>
    <p:sldId id="343" r:id="rId36"/>
    <p:sldId id="356" r:id="rId37"/>
    <p:sldId id="359" r:id="rId38"/>
    <p:sldId id="353" r:id="rId39"/>
    <p:sldId id="351" r:id="rId40"/>
    <p:sldId id="333" r:id="rId41"/>
    <p:sldId id="309" r:id="rId42"/>
    <p:sldId id="310" r:id="rId43"/>
    <p:sldId id="299" r:id="rId44"/>
    <p:sldId id="318" r:id="rId45"/>
    <p:sldId id="312" r:id="rId46"/>
    <p:sldId id="303" r:id="rId47"/>
    <p:sldId id="304" r:id="rId48"/>
    <p:sldId id="319" r:id="rId49"/>
    <p:sldId id="306" r:id="rId50"/>
    <p:sldId id="307" r:id="rId51"/>
    <p:sldId id="301" r:id="rId52"/>
  </p:sldIdLst>
  <p:sldSz cx="9144000" cy="5143500" type="screen16x9"/>
  <p:notesSz cx="6858000" cy="9144000"/>
  <p:embeddedFontLst>
    <p:embeddedFont>
      <p:font typeface="Lufthansa Office Text" panose="020B0404040000000004" pitchFamily="34" charset="0"/>
      <p:regular r:id="rId54"/>
      <p:bold r:id="rId55"/>
    </p:embeddedFont>
    <p:embeddedFont>
      <p:font typeface="Lufthansa Office Head" panose="020B0404040000000004" pitchFamily="34" charset="0"/>
      <p:regular r:id="rId56"/>
      <p:bold r:id="rId57"/>
    </p:embeddedFont>
    <p:embeddedFont>
      <p:font typeface="Wingdings 3" panose="05040102010807070707" pitchFamily="18" charset="2"/>
      <p:regular r:id="rId58"/>
    </p:embeddedFont>
  </p:embeddedFontLst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354"/>
            <p14:sldId id="298"/>
            <p14:sldId id="355"/>
            <p14:sldId id="329"/>
            <p14:sldId id="357"/>
            <p14:sldId id="361"/>
            <p14:sldId id="358"/>
            <p14:sldId id="360"/>
            <p14:sldId id="376"/>
            <p14:sldId id="377"/>
            <p14:sldId id="362"/>
            <p14:sldId id="363"/>
            <p14:sldId id="365"/>
            <p14:sldId id="364"/>
            <p14:sldId id="371"/>
            <p14:sldId id="379"/>
            <p14:sldId id="378"/>
            <p14:sldId id="380"/>
            <p14:sldId id="367"/>
            <p14:sldId id="366"/>
            <p14:sldId id="373"/>
            <p14:sldId id="382"/>
            <p14:sldId id="375"/>
            <p14:sldId id="369"/>
            <p14:sldId id="381"/>
            <p14:sldId id="368"/>
          </p14:sldIdLst>
        </p14:section>
        <p14:section name="How to" id="{16863EE4-7F89-42F4-8C53-EACDE85B3042}">
          <p14:sldIdLst>
            <p14:sldId id="370"/>
            <p14:sldId id="349"/>
            <p14:sldId id="345"/>
            <p14:sldId id="334"/>
            <p14:sldId id="352"/>
            <p14:sldId id="343"/>
            <p14:sldId id="356"/>
          </p14:sldIdLst>
        </p14:section>
        <p14:section name="Content" id="{686944A7-8C3B-0C4D-AC71-6BE6C12739B7}">
          <p14:sldIdLst>
            <p14:sldId id="359"/>
            <p14:sldId id="353"/>
            <p14:sldId id="351"/>
            <p14:sldId id="333"/>
            <p14:sldId id="309"/>
            <p14:sldId id="310"/>
            <p14:sldId id="299"/>
            <p14:sldId id="318"/>
            <p14:sldId id="312"/>
            <p14:sldId id="303"/>
            <p14:sldId id="304"/>
            <p14:sldId id="319"/>
          </p14:sldIdLst>
        </p14:section>
        <p14:section name="Grafikelemente" id="{5D5180BF-B37C-4A40-B943-AC2365BBD912}">
          <p14:sldIdLst>
            <p14:sldId id="306"/>
            <p14:sldId id="307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91" userDrawn="1">
          <p15:clr>
            <a:srgbClr val="A4A3A4"/>
          </p15:clr>
        </p15:guide>
        <p15:guide id="4" orient="horz" pos="1461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183">
          <p15:clr>
            <a:srgbClr val="A4A3A4"/>
          </p15:clr>
        </p15:guide>
        <p15:guide id="10" orient="horz" pos="554" userDrawn="1">
          <p15:clr>
            <a:srgbClr val="A4A3A4"/>
          </p15:clr>
        </p15:guide>
        <p15:guide id="13" pos="181">
          <p15:clr>
            <a:srgbClr val="A4A3A4"/>
          </p15:clr>
        </p15:guide>
        <p15:guide id="14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ona Liebchen" initials="IL" lastIdx="2" clrIdx="0">
    <p:extLst>
      <p:ext uri="{19B8F6BF-5375-455C-9EA6-DF929625EA0E}">
        <p15:presenceInfo xmlns:p15="http://schemas.microsoft.com/office/powerpoint/2012/main" userId="c1cc907eb12783fe" providerId="Windows Live"/>
      </p:ext>
    </p:extLst>
  </p:cmAuthor>
  <p:cmAuthor id="2" name="AC" initials="A" lastIdx="13" clrIdx="1">
    <p:extLst>
      <p:ext uri="{19B8F6BF-5375-455C-9EA6-DF929625EA0E}">
        <p15:presenceInfo xmlns:p15="http://schemas.microsoft.com/office/powerpoint/2012/main" userId="AC" providerId="None"/>
      </p:ext>
    </p:extLst>
  </p:cmAuthor>
  <p:cmAuthor id="3" name="EvangelosBarmpas" initials="E" lastIdx="1" clrIdx="2">
    <p:extLst>
      <p:ext uri="{19B8F6BF-5375-455C-9EA6-DF929625EA0E}">
        <p15:presenceInfo xmlns:p15="http://schemas.microsoft.com/office/powerpoint/2012/main" userId="S-1-5-21-1251035823-1845981328-1845911597-171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74"/>
    <a:srgbClr val="1F2151"/>
    <a:srgbClr val="0516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EE1D2-C45A-4579-80F0-C4BA900C6FCF}" v="66" dt="2022-07-08T12:04:51.888"/>
    <p1510:client id="{1987F1FC-6408-9FC5-71AD-E708CA3BCF4F}" v="7" dt="2022-07-08T08:49:05.912"/>
    <p1510:client id="{1D269972-A7AD-4520-A8EB-E356448074D7}" v="1" dt="2022-07-12T14:27:19.944"/>
    <p1510:client id="{21CD4558-37C2-452F-877E-7F666EC58CCE}" v="92" dt="2022-07-12T08:19:48.479"/>
    <p1510:client id="{2C759B57-AC6E-4306-9D85-AC84A9DDBF68}" v="31" dt="2022-07-08T11:36:09.754"/>
    <p1510:client id="{557BE660-526F-4D15-8AA1-25212DE46D8E}" v="320" dt="2022-07-12T07:54:1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958" autoAdjust="0"/>
  </p:normalViewPr>
  <p:slideViewPr>
    <p:cSldViewPr snapToGrid="0">
      <p:cViewPr varScale="1">
        <p:scale>
          <a:sx n="139" d="100"/>
          <a:sy n="139" d="100"/>
        </p:scale>
        <p:origin x="1164" y="36"/>
      </p:cViewPr>
      <p:guideLst>
        <p:guide orient="horz" pos="191"/>
        <p:guide orient="horz" pos="1461"/>
        <p:guide orient="horz" pos="2867"/>
        <p:guide orient="horz" pos="2958"/>
        <p:guide pos="2789"/>
        <p:guide pos="5534"/>
        <p:guide pos="183"/>
        <p:guide orient="horz" pos="554"/>
        <p:guide pos="181"/>
        <p:guide pos="292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font" Target="fonts/font2.fntdata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font" Target="fonts/font1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66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font" Target="fonts/font4.fntdata"/><Relationship Id="rId61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commentAuthors" Target="commentAuthor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font" Target="fonts/font3.fntdata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JANOS" userId="S::janos.veres@lhsystems.com::c10494d3-c570-44be-b9ee-e8ca80db21a2" providerId="AD" clId="Web-{557BE660-526F-4D15-8AA1-25212DE46D8E}"/>
    <pc:docChg chg="modSld">
      <pc:chgData name="VERES, JANOS" userId="S::janos.veres@lhsystems.com::c10494d3-c570-44be-b9ee-e8ca80db21a2" providerId="AD" clId="Web-{557BE660-526F-4D15-8AA1-25212DE46D8E}" dt="2022-07-12T07:54:12.260" v="249" actId="20577"/>
      <pc:docMkLst>
        <pc:docMk/>
      </pc:docMkLst>
      <pc:sldChg chg="modSp">
        <pc:chgData name="VERES, JANOS" userId="S::janos.veres@lhsystems.com::c10494d3-c570-44be-b9ee-e8ca80db21a2" providerId="AD" clId="Web-{557BE660-526F-4D15-8AA1-25212DE46D8E}" dt="2022-07-12T07:50:13.160" v="162" actId="20577"/>
        <pc:sldMkLst>
          <pc:docMk/>
          <pc:sldMk cId="3685496553" sldId="345"/>
        </pc:sldMkLst>
        <pc:spChg chg="mod">
          <ac:chgData name="VERES, JANOS" userId="S::janos.veres@lhsystems.com::c10494d3-c570-44be-b9ee-e8ca80db21a2" providerId="AD" clId="Web-{557BE660-526F-4D15-8AA1-25212DE46D8E}" dt="2022-07-12T07:50:13.160" v="162" actId="20577"/>
          <ac:spMkLst>
            <pc:docMk/>
            <pc:sldMk cId="3685496553" sldId="345"/>
            <ac:spMk id="4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9:55.126" v="97" actId="20577"/>
          <ac:spMkLst>
            <pc:docMk/>
            <pc:sldMk cId="3685496553" sldId="345"/>
            <ac:spMk id="9" creationId="{00000000-0000-0000-0000-000000000000}"/>
          </ac:spMkLst>
        </pc:spChg>
        <pc:spChg chg="mod">
          <ac:chgData name="VERES, JANOS" userId="S::janos.veres@lhsystems.com::c10494d3-c570-44be-b9ee-e8ca80db21a2" providerId="AD" clId="Web-{557BE660-526F-4D15-8AA1-25212DE46D8E}" dt="2022-07-12T07:26:15.213" v="2" actId="20577"/>
          <ac:spMkLst>
            <pc:docMk/>
            <pc:sldMk cId="3685496553" sldId="345"/>
            <ac:spMk id="16" creationId="{00000000-0000-0000-0000-000000000000}"/>
          </ac:spMkLst>
        </pc:spChg>
      </pc:sldChg>
      <pc:sldChg chg="delSp modSp">
        <pc:chgData name="VERES, JANOS" userId="S::janos.veres@lhsystems.com::c10494d3-c570-44be-b9ee-e8ca80db21a2" providerId="AD" clId="Web-{557BE660-526F-4D15-8AA1-25212DE46D8E}" dt="2022-07-12T07:50:42.239" v="165"/>
        <pc:sldMkLst>
          <pc:docMk/>
          <pc:sldMk cId="3205765724" sldId="346"/>
        </pc:sldMkLst>
        <pc:spChg chg="del mod">
          <ac:chgData name="VERES, JANOS" userId="S::janos.veres@lhsystems.com::c10494d3-c570-44be-b9ee-e8ca80db21a2" providerId="AD" clId="Web-{557BE660-526F-4D15-8AA1-25212DE46D8E}" dt="2022-07-12T07:50:42.239" v="165"/>
          <ac:spMkLst>
            <pc:docMk/>
            <pc:sldMk cId="3205765724" sldId="346"/>
            <ac:spMk id="8" creationId="{00000000-0000-0000-0000-000000000000}"/>
          </ac:spMkLst>
        </pc:spChg>
      </pc:sldChg>
      <pc:sldChg chg="addSp delSp modSp">
        <pc:chgData name="VERES, JANOS" userId="S::janos.veres@lhsystems.com::c10494d3-c570-44be-b9ee-e8ca80db21a2" providerId="AD" clId="Web-{557BE660-526F-4D15-8AA1-25212DE46D8E}" dt="2022-07-12T07:54:12.260" v="249" actId="20577"/>
        <pc:sldMkLst>
          <pc:docMk/>
          <pc:sldMk cId="3024609087" sldId="347"/>
        </pc:sldMkLst>
        <pc:spChg chg="add del mod">
          <ac:chgData name="VERES, JANOS" userId="S::janos.veres@lhsystems.com::c10494d3-c570-44be-b9ee-e8ca80db21a2" providerId="AD" clId="Web-{557BE660-526F-4D15-8AA1-25212DE46D8E}" dt="2022-07-12T07:52:30.382" v="223"/>
          <ac:spMkLst>
            <pc:docMk/>
            <pc:sldMk cId="3024609087" sldId="347"/>
            <ac:spMk id="3" creationId="{192C536C-9E88-AB3D-14C5-0F3BE61E9B8F}"/>
          </ac:spMkLst>
        </pc:spChg>
        <pc:spChg chg="add mod">
          <ac:chgData name="VERES, JANOS" userId="S::janos.veres@lhsystems.com::c10494d3-c570-44be-b9ee-e8ca80db21a2" providerId="AD" clId="Web-{557BE660-526F-4D15-8AA1-25212DE46D8E}" dt="2022-07-12T07:54:12.260" v="249" actId="20577"/>
          <ac:spMkLst>
            <pc:docMk/>
            <pc:sldMk cId="3024609087" sldId="347"/>
            <ac:spMk id="8" creationId="{E1ADD6ED-3E46-853F-E174-38FC18220E70}"/>
          </ac:spMkLst>
        </pc:spChg>
      </pc:sldChg>
    </pc:docChg>
  </pc:docChgLst>
  <pc:docChgLst>
    <pc:chgData name="KUEHN, DAGMAR NORIKO" userId="S::dagmar.kuehn@lhsystems.com::7cf04df8-dcca-4203-b18d-6eee424e89ee" providerId="AD" clId="Web-{1987F1FC-6408-9FC5-71AD-E708CA3BCF4F}"/>
    <pc:docChg chg="modSld">
      <pc:chgData name="KUEHN, DAGMAR NORIKO" userId="S::dagmar.kuehn@lhsystems.com::7cf04df8-dcca-4203-b18d-6eee424e89ee" providerId="AD" clId="Web-{1987F1FC-6408-9FC5-71AD-E708CA3BCF4F}" dt="2022-07-08T08:49:05.912" v="5"/>
      <pc:docMkLst>
        <pc:docMk/>
      </pc:docMkLst>
      <pc:sldChg chg="addSp delSp modSp">
        <pc:chgData name="KUEHN, DAGMAR NORIKO" userId="S::dagmar.kuehn@lhsystems.com::7cf04df8-dcca-4203-b18d-6eee424e89ee" providerId="AD" clId="Web-{1987F1FC-6408-9FC5-71AD-E708CA3BCF4F}" dt="2022-07-08T08:49:05.912" v="5"/>
        <pc:sldMkLst>
          <pc:docMk/>
          <pc:sldMk cId="1324588736" sldId="304"/>
        </pc:sldMkLst>
        <pc:spChg chg="del">
          <ac:chgData name="KUEHN, DAGMAR NORIKO" userId="S::dagmar.kuehn@lhsystems.com::7cf04df8-dcca-4203-b18d-6eee424e89ee" providerId="AD" clId="Web-{1987F1FC-6408-9FC5-71AD-E708CA3BCF4F}" dt="2022-07-08T08:49:05.912" v="5"/>
          <ac:spMkLst>
            <pc:docMk/>
            <pc:sldMk cId="1324588736" sldId="304"/>
            <ac:spMk id="7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9:05.912" v="5"/>
          <ac:picMkLst>
            <pc:docMk/>
            <pc:sldMk cId="1324588736" sldId="304"/>
            <ac:picMk id="3" creationId="{3D49B2C7-9A1E-76F8-0ED9-65CA75136B74}"/>
          </ac:picMkLst>
        </pc:picChg>
      </pc:sldChg>
      <pc:sldChg chg="addSp delSp modSp">
        <pc:chgData name="KUEHN, DAGMAR NORIKO" userId="S::dagmar.kuehn@lhsystems.com::7cf04df8-dcca-4203-b18d-6eee424e89ee" providerId="AD" clId="Web-{1987F1FC-6408-9FC5-71AD-E708CA3BCF4F}" dt="2022-07-08T08:48:47.740" v="4" actId="20577"/>
        <pc:sldMkLst>
          <pc:docMk/>
          <pc:sldMk cId="1062364304" sldId="312"/>
        </pc:sldMkLst>
        <pc:spChg chg="del">
          <ac:chgData name="KUEHN, DAGMAR NORIKO" userId="S::dagmar.kuehn@lhsystems.com::7cf04df8-dcca-4203-b18d-6eee424e89ee" providerId="AD" clId="Web-{1987F1FC-6408-9FC5-71AD-E708CA3BCF4F}" dt="2022-07-08T08:48:33.067" v="1"/>
          <ac:spMkLst>
            <pc:docMk/>
            <pc:sldMk cId="1062364304" sldId="312"/>
            <ac:spMk id="11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38.958" v="2"/>
          <ac:spMkLst>
            <pc:docMk/>
            <pc:sldMk cId="1062364304" sldId="312"/>
            <ac:spMk id="24" creationId="{00000000-0000-0000-0000-000000000000}"/>
          </ac:spMkLst>
        </pc:spChg>
        <pc:spChg chg="mod">
          <ac:chgData name="KUEHN, DAGMAR NORIKO" userId="S::dagmar.kuehn@lhsystems.com::7cf04df8-dcca-4203-b18d-6eee424e89ee" providerId="AD" clId="Web-{1987F1FC-6408-9FC5-71AD-E708CA3BCF4F}" dt="2022-07-08T08:48:47.740" v="4" actId="20577"/>
          <ac:spMkLst>
            <pc:docMk/>
            <pc:sldMk cId="1062364304" sldId="312"/>
            <ac:spMk id="25" creationId="{00000000-0000-0000-0000-000000000000}"/>
          </ac:spMkLst>
        </pc:spChg>
        <pc:picChg chg="add mod ord modCrop">
          <ac:chgData name="KUEHN, DAGMAR NORIKO" userId="S::dagmar.kuehn@lhsystems.com::7cf04df8-dcca-4203-b18d-6eee424e89ee" providerId="AD" clId="Web-{1987F1FC-6408-9FC5-71AD-E708CA3BCF4F}" dt="2022-07-08T08:48:33.067" v="1"/>
          <ac:picMkLst>
            <pc:docMk/>
            <pc:sldMk cId="1062364304" sldId="312"/>
            <ac:picMk id="3" creationId="{BE61AD16-D88A-D9D7-A8ED-AE39C5C3442F}"/>
          </ac:picMkLst>
        </pc:picChg>
      </pc:sldChg>
      <pc:sldChg chg="modSp">
        <pc:chgData name="KUEHN, DAGMAR NORIKO" userId="S::dagmar.kuehn@lhsystems.com::7cf04df8-dcca-4203-b18d-6eee424e89ee" providerId="AD" clId="Web-{1987F1FC-6408-9FC5-71AD-E708CA3BCF4F}" dt="2022-07-08T08:48:05.410" v="0" actId="14100"/>
        <pc:sldMkLst>
          <pc:docMk/>
          <pc:sldMk cId="950464966" sldId="343"/>
        </pc:sldMkLst>
        <pc:spChg chg="mod">
          <ac:chgData name="KUEHN, DAGMAR NORIKO" userId="S::dagmar.kuehn@lhsystems.com::7cf04df8-dcca-4203-b18d-6eee424e89ee" providerId="AD" clId="Web-{1987F1FC-6408-9FC5-71AD-E708CA3BCF4F}" dt="2022-07-08T08:48:05.410" v="0" actId="14100"/>
          <ac:spMkLst>
            <pc:docMk/>
            <pc:sldMk cId="950464966" sldId="343"/>
            <ac:spMk id="5" creationId="{00000000-0000-0000-0000-000000000000}"/>
          </ac:spMkLst>
        </pc:spChg>
      </pc:sldChg>
    </pc:docChg>
  </pc:docChgLst>
  <pc:docChgLst>
    <pc:chgData name="MARSH, WANDA" userId="S::wanda.marsh@lhsystems.com::da2e2486-98f2-49dd-b9f7-da72561c1b02" providerId="AD" clId="Web-{21CD4558-37C2-452F-877E-7F666EC58CCE}"/>
    <pc:docChg chg="addSld delSld modSld sldOrd modSection">
      <pc:chgData name="MARSH, WANDA" userId="S::wanda.marsh@lhsystems.com::da2e2486-98f2-49dd-b9f7-da72561c1b02" providerId="AD" clId="Web-{21CD4558-37C2-452F-877E-7F666EC58CCE}" dt="2022-07-12T08:19:48.479" v="88"/>
      <pc:docMkLst>
        <pc:docMk/>
      </pc:docMkLst>
      <pc:sldChg chg="modSp">
        <pc:chgData name="MARSH, WANDA" userId="S::wanda.marsh@lhsystems.com::da2e2486-98f2-49dd-b9f7-da72561c1b02" providerId="AD" clId="Web-{21CD4558-37C2-452F-877E-7F666EC58CCE}" dt="2022-07-12T08:08:58.098" v="13" actId="14100"/>
        <pc:sldMkLst>
          <pc:docMk/>
          <pc:sldMk cId="1836033922" sldId="298"/>
        </pc:sldMkLst>
        <pc:spChg chg="mod">
          <ac:chgData name="MARSH, WANDA" userId="S::wanda.marsh@lhsystems.com::da2e2486-98f2-49dd-b9f7-da72561c1b02" providerId="AD" clId="Web-{21CD4558-37C2-452F-877E-7F666EC58CCE}" dt="2022-07-12T08:08:58.098" v="13" actId="14100"/>
          <ac:spMkLst>
            <pc:docMk/>
            <pc:sldMk cId="1836033922" sldId="298"/>
            <ac:spMk id="8" creationId="{00000000-0000-0000-0000-000000000000}"/>
          </ac:spMkLst>
        </pc:spChg>
      </pc:sldChg>
      <pc:sldChg chg="ord">
        <pc:chgData name="MARSH, WANDA" userId="S::wanda.marsh@lhsystems.com::da2e2486-98f2-49dd-b9f7-da72561c1b02" providerId="AD" clId="Web-{21CD4558-37C2-452F-877E-7F666EC58CCE}" dt="2022-07-12T08:10:01.022" v="15"/>
        <pc:sldMkLst>
          <pc:docMk/>
          <pc:sldMk cId="950464966" sldId="343"/>
        </pc:sldMkLst>
      </pc:sldChg>
      <pc:sldChg chg="modSp del ord">
        <pc:chgData name="MARSH, WANDA" userId="S::wanda.marsh@lhsystems.com::da2e2486-98f2-49dd-b9f7-da72561c1b02" providerId="AD" clId="Web-{21CD4558-37C2-452F-877E-7F666EC58CCE}" dt="2022-07-12T08:19:14.868" v="85"/>
        <pc:sldMkLst>
          <pc:docMk/>
          <pc:sldMk cId="3205765724" sldId="346"/>
        </pc:sldMkLst>
        <pc:spChg chg="mod">
          <ac:chgData name="MARSH, WANDA" userId="S::wanda.marsh@lhsystems.com::da2e2486-98f2-49dd-b9f7-da72561c1b02" providerId="AD" clId="Web-{21CD4558-37C2-452F-877E-7F666EC58CCE}" dt="2022-07-12T08:08:43.879" v="10" actId="20577"/>
          <ac:spMkLst>
            <pc:docMk/>
            <pc:sldMk cId="3205765724" sldId="346"/>
            <ac:spMk id="3" creationId="{FF2EC64B-2C63-4161-ABF6-E0FCD8855C3C}"/>
          </ac:spMkLst>
        </pc:spChg>
      </pc:sldChg>
      <pc:sldChg chg="del">
        <pc:chgData name="MARSH, WANDA" userId="S::wanda.marsh@lhsystems.com::da2e2486-98f2-49dd-b9f7-da72561c1b02" providerId="AD" clId="Web-{21CD4558-37C2-452F-877E-7F666EC58CCE}" dt="2022-07-12T08:06:56.156" v="0"/>
        <pc:sldMkLst>
          <pc:docMk/>
          <pc:sldMk cId="3024609087" sldId="347"/>
        </pc:sldMkLst>
      </pc:sldChg>
      <pc:sldChg chg="delSp modSp add replId">
        <pc:chgData name="MARSH, WANDA" userId="S::wanda.marsh@lhsystems.com::da2e2486-98f2-49dd-b9f7-da72561c1b02" providerId="AD" clId="Web-{21CD4558-37C2-452F-877E-7F666EC58CCE}" dt="2022-07-12T08:18:58.040" v="84" actId="20577"/>
        <pc:sldMkLst>
          <pc:docMk/>
          <pc:sldMk cId="621620495" sldId="355"/>
        </pc:sldMkLst>
        <pc:spChg chg="del mod">
          <ac:chgData name="MARSH, WANDA" userId="S::wanda.marsh@lhsystems.com::da2e2486-98f2-49dd-b9f7-da72561c1b02" providerId="AD" clId="Web-{21CD4558-37C2-452F-877E-7F666EC58CCE}" dt="2022-07-12T08:11:01.930" v="23"/>
          <ac:spMkLst>
            <pc:docMk/>
            <pc:sldMk cId="621620495" sldId="355"/>
            <ac:spMk id="7" creationId="{51AD7297-5B97-7B76-F5F1-2D4A54B8AFFA}"/>
          </ac:spMkLst>
        </pc:spChg>
        <pc:spChg chg="del">
          <ac:chgData name="MARSH, WANDA" userId="S::wanda.marsh@lhsystems.com::da2e2486-98f2-49dd-b9f7-da72561c1b02" providerId="AD" clId="Web-{21CD4558-37C2-452F-877E-7F666EC58CCE}" dt="2022-07-12T08:11:02.946" v="24"/>
          <ac:spMkLst>
            <pc:docMk/>
            <pc:sldMk cId="621620495" sldId="355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1CD4558-37C2-452F-877E-7F666EC58CCE}" dt="2022-07-12T08:18:58.040" v="84" actId="20577"/>
          <ac:spMkLst>
            <pc:docMk/>
            <pc:sldMk cId="621620495" sldId="355"/>
            <ac:spMk id="10" creationId="{00000000-0000-0000-0000-000000000000}"/>
          </ac:spMkLst>
        </pc:spChg>
      </pc:sldChg>
      <pc:sldChg chg="add">
        <pc:chgData name="MARSH, WANDA" userId="S::wanda.marsh@lhsystems.com::da2e2486-98f2-49dd-b9f7-da72561c1b02" providerId="AD" clId="Web-{21CD4558-37C2-452F-877E-7F666EC58CCE}" dt="2022-07-12T08:19:48.479" v="88"/>
        <pc:sldMkLst>
          <pc:docMk/>
          <pc:sldMk cId="1893298240" sldId="356"/>
        </pc:sldMkLst>
      </pc:sldChg>
      <pc:sldChg chg="add del replId">
        <pc:chgData name="MARSH, WANDA" userId="S::wanda.marsh@lhsystems.com::da2e2486-98f2-49dd-b9f7-da72561c1b02" providerId="AD" clId="Web-{21CD4558-37C2-452F-877E-7F666EC58CCE}" dt="2022-07-12T08:19:39.245" v="87"/>
        <pc:sldMkLst>
          <pc:docMk/>
          <pc:sldMk cId="1943725417" sldId="356"/>
        </pc:sldMkLst>
      </pc:sldChg>
      <pc:sldMasterChg chg="addSldLayout">
        <pc:chgData name="MARSH, WANDA" userId="S::wanda.marsh@lhsystems.com::da2e2486-98f2-49dd-b9f7-da72561c1b02" providerId="AD" clId="Web-{21CD4558-37C2-452F-877E-7F666EC58CCE}" dt="2022-07-12T08:19:48.479" v="88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86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87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88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89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3270475851" sldId="2147483790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271464520" sldId="2147483791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1421432207" sldId="2147483792"/>
          </pc:sldLayoutMkLst>
        </pc:sldLayoutChg>
        <pc:sldLayoutChg chg="add">
          <pc:chgData name="MARSH, WANDA" userId="S::wanda.marsh@lhsystems.com::da2e2486-98f2-49dd-b9f7-da72561c1b02" providerId="AD" clId="Web-{21CD4558-37C2-452F-877E-7F666EC58CCE}" dt="2022-07-12T08:19:48.479" v="88"/>
          <pc:sldLayoutMkLst>
            <pc:docMk/>
            <pc:sldMasterMk cId="1895771580" sldId="2147483712"/>
            <pc:sldLayoutMk cId="2008744914" sldId="2147483793"/>
          </pc:sldLayoutMkLst>
        </pc:sldLayoutChg>
      </pc:sldMasterChg>
    </pc:docChg>
  </pc:docChgLst>
  <pc:docChgLst>
    <pc:chgData name="MARSH, WANDA" userId="S::wanda.marsh@lhsystems.com::da2e2486-98f2-49dd-b9f7-da72561c1b02" providerId="AD" clId="Web-{2C759B57-AC6E-4306-9D85-AC84A9DDBF68}"/>
    <pc:docChg chg="addSld modSld sldOrd modSection">
      <pc:chgData name="MARSH, WANDA" userId="S::wanda.marsh@lhsystems.com::da2e2486-98f2-49dd-b9f7-da72561c1b02" providerId="AD" clId="Web-{2C759B57-AC6E-4306-9D85-AC84A9DDBF68}" dt="2022-07-08T11:36:09.754" v="29"/>
      <pc:docMkLst>
        <pc:docMk/>
      </pc:docMkLst>
      <pc:sldChg chg="addSp delSp modSp ord">
        <pc:chgData name="MARSH, WANDA" userId="S::wanda.marsh@lhsystems.com::da2e2486-98f2-49dd-b9f7-da72561c1b02" providerId="AD" clId="Web-{2C759B57-AC6E-4306-9D85-AC84A9DDBF68}" dt="2022-07-08T11:36:09.754" v="29"/>
        <pc:sldMkLst>
          <pc:docMk/>
          <pc:sldMk cId="1836033922" sldId="298"/>
        </pc:sldMkLst>
        <pc:spChg chg="add del mod">
          <ac:chgData name="MARSH, WANDA" userId="S::wanda.marsh@lhsystems.com::da2e2486-98f2-49dd-b9f7-da72561c1b02" providerId="AD" clId="Web-{2C759B57-AC6E-4306-9D85-AC84A9DDBF68}" dt="2022-07-08T11:35:32.894" v="24"/>
          <ac:spMkLst>
            <pc:docMk/>
            <pc:sldMk cId="1836033922" sldId="298"/>
            <ac:spMk id="7" creationId="{CBFD8581-FFE7-F2E3-C54F-14D109C15E22}"/>
          </ac:spMkLst>
        </pc:spChg>
        <pc:spChg chg="del">
          <ac:chgData name="MARSH, WANDA" userId="S::wanda.marsh@lhsystems.com::da2e2486-98f2-49dd-b9f7-da72561c1b02" providerId="AD" clId="Web-{2C759B57-AC6E-4306-9D85-AC84A9DDBF68}" dt="2022-07-08T11:35:29.159" v="23"/>
          <ac:spMkLst>
            <pc:docMk/>
            <pc:sldMk cId="1836033922" sldId="298"/>
            <ac:spMk id="8" creationId="{00000000-0000-0000-0000-000000000000}"/>
          </ac:spMkLst>
        </pc:spChg>
        <pc:spChg chg="mod">
          <ac:chgData name="MARSH, WANDA" userId="S::wanda.marsh@lhsystems.com::da2e2486-98f2-49dd-b9f7-da72561c1b02" providerId="AD" clId="Web-{2C759B57-AC6E-4306-9D85-AC84A9DDBF68}" dt="2022-07-08T11:35:52.379" v="28" actId="14100"/>
          <ac:spMkLst>
            <pc:docMk/>
            <pc:sldMk cId="1836033922" sldId="298"/>
            <ac:spMk id="10" creationId="{00000000-0000-0000-0000-000000000000}"/>
          </ac:spMkLst>
        </pc:spChg>
      </pc:sldChg>
      <pc:sldChg chg="add replId">
        <pc:chgData name="MARSH, WANDA" userId="S::wanda.marsh@lhsystems.com::da2e2486-98f2-49dd-b9f7-da72561c1b02" providerId="AD" clId="Web-{2C759B57-AC6E-4306-9D85-AC84A9DDBF68}" dt="2022-07-08T11:34:57.283" v="0"/>
        <pc:sldMkLst>
          <pc:docMk/>
          <pc:sldMk cId="2157075244" sldId="351"/>
        </pc:sldMkLst>
      </pc:sldChg>
    </pc:docChg>
  </pc:docChgLst>
  <pc:docChgLst>
    <pc:chgData name="MARSH, WANDA" userId="S::wanda.marsh@lhsystems.com::da2e2486-98f2-49dd-b9f7-da72561c1b02" providerId="AD" clId="Web-{180EE1D2-C45A-4579-80F0-C4BA900C6FCF}"/>
    <pc:docChg chg="addSld delSld modSld sldOrd modSection">
      <pc:chgData name="MARSH, WANDA" userId="S::wanda.marsh@lhsystems.com::da2e2486-98f2-49dd-b9f7-da72561c1b02" providerId="AD" clId="Web-{180EE1D2-C45A-4579-80F0-C4BA900C6FCF}" dt="2022-07-08T12:04:51.888" v="57"/>
      <pc:docMkLst>
        <pc:docMk/>
      </pc:docMkLst>
      <pc:sldChg chg="addSp modSp">
        <pc:chgData name="MARSH, WANDA" userId="S::wanda.marsh@lhsystems.com::da2e2486-98f2-49dd-b9f7-da72561c1b02" providerId="AD" clId="Web-{180EE1D2-C45A-4579-80F0-C4BA900C6FCF}" dt="2022-07-08T11:51:47.391" v="22" actId="1076"/>
        <pc:sldMkLst>
          <pc:docMk/>
          <pc:sldMk cId="1836033922" sldId="298"/>
        </pc:sldMkLst>
        <pc:spChg chg="add mod">
          <ac:chgData name="MARSH, WANDA" userId="S::wanda.marsh@lhsystems.com::da2e2486-98f2-49dd-b9f7-da72561c1b02" providerId="AD" clId="Web-{180EE1D2-C45A-4579-80F0-C4BA900C6FCF}" dt="2022-07-08T11:51:47.391" v="22" actId="1076"/>
          <ac:spMkLst>
            <pc:docMk/>
            <pc:sldMk cId="1836033922" sldId="298"/>
            <ac:spMk id="7" creationId="{51AD7297-5B97-7B76-F5F1-2D4A54B8AFFA}"/>
          </ac:spMkLst>
        </pc:spChg>
        <pc:spChg chg="mod">
          <ac:chgData name="MARSH, WANDA" userId="S::wanda.marsh@lhsystems.com::da2e2486-98f2-49dd-b9f7-da72561c1b02" providerId="AD" clId="Web-{180EE1D2-C45A-4579-80F0-C4BA900C6FCF}" dt="2022-07-08T11:50:08.184" v="7" actId="20577"/>
          <ac:spMkLst>
            <pc:docMk/>
            <pc:sldMk cId="1836033922" sldId="298"/>
            <ac:spMk id="10" creationId="{00000000-0000-0000-0000-000000000000}"/>
          </ac:spMkLst>
        </pc:spChg>
      </pc:sldChg>
      <pc:sldChg chg="del">
        <pc:chgData name="MARSH, WANDA" userId="S::wanda.marsh@lhsystems.com::da2e2486-98f2-49dd-b9f7-da72561c1b02" providerId="AD" clId="Web-{180EE1D2-C45A-4579-80F0-C4BA900C6FCF}" dt="2022-07-08T12:03:51.917" v="51"/>
        <pc:sldMkLst>
          <pc:docMk/>
          <pc:sldMk cId="3195511404" sldId="340"/>
        </pc:sldMkLst>
      </pc:sldChg>
      <pc:sldChg chg="del">
        <pc:chgData name="MARSH, WANDA" userId="S::wanda.marsh@lhsystems.com::da2e2486-98f2-49dd-b9f7-da72561c1b02" providerId="AD" clId="Web-{180EE1D2-C45A-4579-80F0-C4BA900C6FCF}" dt="2022-07-08T11:53:19.879" v="27"/>
        <pc:sldMkLst>
          <pc:docMk/>
          <pc:sldMk cId="2929053372" sldId="350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2:36.914" v="41"/>
        <pc:sldMkLst>
          <pc:docMk/>
          <pc:sldMk cId="2369479403" sldId="352"/>
        </pc:sldMkLst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2" creationId="{E798C815-B310-AA68-C23C-8D02FB07BDEF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3" creationId="{BAD0FA84-82B0-1C8C-208A-0FCA0EAB19D3}"/>
          </ac:spMkLst>
        </pc:spChg>
        <pc:spChg chg="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4" creationId="{CE7881ED-BE8B-B8D4-EB02-BCBA58116225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5:41.853" v="36"/>
          <ac:spMkLst>
            <pc:docMk/>
            <pc:sldMk cId="2369479403" sldId="352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6" creationId="{4840FCCF-CE4E-0835-2E8B-90A06E4D45A2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7" creationId="{D3D12C02-8423-C524-EF96-7F770033653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36.914" v="41"/>
          <ac:spMkLst>
            <pc:docMk/>
            <pc:sldMk cId="2369479403" sldId="352"/>
            <ac:spMk id="8" creationId="{7E6EDB88-9952-B0EA-D226-E96A7E712E09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3:28.566" v="29"/>
        <pc:sldMkLst>
          <pc:docMk/>
          <pc:sldMk cId="1255911155" sldId="353"/>
        </pc:sldMkLst>
      </pc:sldChg>
      <pc:sldChg chg="add del replId">
        <pc:chgData name="MARSH, WANDA" userId="S::wanda.marsh@lhsystems.com::da2e2486-98f2-49dd-b9f7-da72561c1b02" providerId="AD" clId="Web-{180EE1D2-C45A-4579-80F0-C4BA900C6FCF}" dt="2022-07-08T12:01:53.522" v="39"/>
        <pc:sldMkLst>
          <pc:docMk/>
          <pc:sldMk cId="293034562" sldId="354"/>
        </pc:sldMkLst>
      </pc:sldChg>
      <pc:sldChg chg="addSp delSp modSp add mod ord replId modClrScheme chgLayout">
        <pc:chgData name="MARSH, WANDA" userId="S::wanda.marsh@lhsystems.com::da2e2486-98f2-49dd-b9f7-da72561c1b02" providerId="AD" clId="Web-{180EE1D2-C45A-4579-80F0-C4BA900C6FCF}" dt="2022-07-08T12:04:51.888" v="57"/>
        <pc:sldMkLst>
          <pc:docMk/>
          <pc:sldMk cId="3822467622" sldId="354"/>
        </pc:sldMkLst>
        <pc:spChg chg="mod ord">
          <ac:chgData name="MARSH, WANDA" userId="S::wanda.marsh@lhsystems.com::da2e2486-98f2-49dd-b9f7-da72561c1b02" providerId="AD" clId="Web-{180EE1D2-C45A-4579-80F0-C4BA900C6FCF}" dt="2022-07-08T12:02:49.165" v="43"/>
          <ac:spMkLst>
            <pc:docMk/>
            <pc:sldMk cId="3822467622" sldId="354"/>
            <ac:spMk id="2" creationId="{E798C815-B310-AA68-C23C-8D02FB07BDEF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5.447" v="49"/>
          <ac:spMkLst>
            <pc:docMk/>
            <pc:sldMk cId="3822467622" sldId="354"/>
            <ac:spMk id="3" creationId="{BAD0FA84-82B0-1C8C-208A-0FCA0EAB19D3}"/>
          </ac:spMkLst>
        </pc:spChg>
        <pc:spChg chg="del mod ord">
          <ac:chgData name="MARSH, WANDA" userId="S::wanda.marsh@lhsystems.com::da2e2486-98f2-49dd-b9f7-da72561c1b02" providerId="AD" clId="Web-{180EE1D2-C45A-4579-80F0-C4BA900C6FCF}" dt="2022-07-08T12:03:27.229" v="50"/>
          <ac:spMkLst>
            <pc:docMk/>
            <pc:sldMk cId="3822467622" sldId="354"/>
            <ac:spMk id="4" creationId="{CE7881ED-BE8B-B8D4-EB02-BCBA58116225}"/>
          </ac:spMkLst>
        </pc:spChg>
        <pc:spChg chg="del">
          <ac:chgData name="MARSH, WANDA" userId="S::wanda.marsh@lhsystems.com::da2e2486-98f2-49dd-b9f7-da72561c1b02" providerId="AD" clId="Web-{180EE1D2-C45A-4579-80F0-C4BA900C6FCF}" dt="2022-07-08T12:03:20.385" v="47"/>
          <ac:spMkLst>
            <pc:docMk/>
            <pc:sldMk cId="3822467622" sldId="354"/>
            <ac:spMk id="5" creationId="{D67FF3EB-B567-06E4-E825-CD3A6F027449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2:53.946" v="44"/>
          <ac:spMkLst>
            <pc:docMk/>
            <pc:sldMk cId="3822467622" sldId="354"/>
            <ac:spMk id="6" creationId="{77ED2609-6B82-131C-4BD3-F6BBF592636F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4:01.183" v="52"/>
          <ac:spMkLst>
            <pc:docMk/>
            <pc:sldMk cId="3822467622" sldId="354"/>
            <ac:spMk id="7" creationId="{0269C149-8842-9189-087F-BA5587ADBB78}"/>
          </ac:spMkLst>
        </pc:spChg>
        <pc:spChg chg="add del mod ord">
          <ac:chgData name="MARSH, WANDA" userId="S::wanda.marsh@lhsystems.com::da2e2486-98f2-49dd-b9f7-da72561c1b02" providerId="AD" clId="Web-{180EE1D2-C45A-4579-80F0-C4BA900C6FCF}" dt="2022-07-08T12:03:03.462" v="45"/>
          <ac:spMkLst>
            <pc:docMk/>
            <pc:sldMk cId="3822467622" sldId="354"/>
            <ac:spMk id="8" creationId="{C0C82FE0-F97C-6CCB-699C-0CC10689B992}"/>
          </ac:spMkLst>
        </pc:spChg>
        <pc:spChg chg="add del mod">
          <ac:chgData name="MARSH, WANDA" userId="S::wanda.marsh@lhsystems.com::da2e2486-98f2-49dd-b9f7-da72561c1b02" providerId="AD" clId="Web-{180EE1D2-C45A-4579-80F0-C4BA900C6FCF}" dt="2022-07-08T12:04:13.652" v="56"/>
          <ac:spMkLst>
            <pc:docMk/>
            <pc:sldMk cId="3822467622" sldId="354"/>
            <ac:spMk id="9" creationId="{336A421F-DE85-4B75-E0AA-021A339F2302}"/>
          </ac:spMkLst>
        </pc:spChg>
        <pc:spChg chg="add">
          <ac:chgData name="MARSH, WANDA" userId="S::wanda.marsh@lhsystems.com::da2e2486-98f2-49dd-b9f7-da72561c1b02" providerId="AD" clId="Web-{180EE1D2-C45A-4579-80F0-C4BA900C6FCF}" dt="2022-07-08T12:04:51.888" v="57"/>
          <ac:spMkLst>
            <pc:docMk/>
            <pc:sldMk cId="3822467622" sldId="354"/>
            <ac:spMk id="10" creationId="{934E9D53-5854-FD54-A24C-C240FDC1ED2E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2:01:31.568" v="38"/>
        <pc:sldMkLst>
          <pc:docMk/>
          <pc:sldMk cId="229235632" sldId="355"/>
        </pc:sldMkLst>
      </pc:sldChg>
      <pc:sldChg chg="addSp add del">
        <pc:chgData name="MARSH, WANDA" userId="S::wanda.marsh@lhsystems.com::da2e2486-98f2-49dd-b9f7-da72561c1b02" providerId="AD" clId="Web-{180EE1D2-C45A-4579-80F0-C4BA900C6FCF}" dt="2022-07-08T11:54:44.491" v="35"/>
        <pc:sldMkLst>
          <pc:docMk/>
          <pc:sldMk cId="2286776907" sldId="355"/>
        </pc:sldMkLst>
        <pc:spChg chg="add">
          <ac:chgData name="MARSH, WANDA" userId="S::wanda.marsh@lhsystems.com::da2e2486-98f2-49dd-b9f7-da72561c1b02" providerId="AD" clId="Web-{180EE1D2-C45A-4579-80F0-C4BA900C6FCF}" dt="2022-07-08T11:54:32.788" v="33"/>
          <ac:spMkLst>
            <pc:docMk/>
            <pc:sldMk cId="2286776907" sldId="355"/>
            <ac:spMk id="5" creationId="{48A37866-FBCB-2256-73C6-A95527648586}"/>
          </ac:spMkLst>
        </pc:spChg>
        <pc:spChg chg="add">
          <ac:chgData name="MARSH, WANDA" userId="S::wanda.marsh@lhsystems.com::da2e2486-98f2-49dd-b9f7-da72561c1b02" providerId="AD" clId="Web-{180EE1D2-C45A-4579-80F0-C4BA900C6FCF}" dt="2022-07-08T11:54:35.225" v="34"/>
          <ac:spMkLst>
            <pc:docMk/>
            <pc:sldMk cId="2286776907" sldId="355"/>
            <ac:spMk id="6" creationId="{31FEDC2A-2622-825E-BC73-B05095D544D6}"/>
          </ac:spMkLst>
        </pc:spChg>
      </pc:sldChg>
      <pc:sldChg chg="add del replId">
        <pc:chgData name="MARSH, WANDA" userId="S::wanda.marsh@lhsystems.com::da2e2486-98f2-49dd-b9f7-da72561c1b02" providerId="AD" clId="Web-{180EE1D2-C45A-4579-80F0-C4BA900C6FCF}" dt="2022-07-08T11:54:12.209" v="31"/>
        <pc:sldMkLst>
          <pc:docMk/>
          <pc:sldMk cId="3286649876" sldId="355"/>
        </pc:sldMkLst>
      </pc:sldChg>
      <pc:sldMasterChg chg="addSldLayout">
        <pc:chgData name="MARSH, WANDA" userId="S::wanda.marsh@lhsystems.com::da2e2486-98f2-49dd-b9f7-da72561c1b02" providerId="AD" clId="Web-{180EE1D2-C45A-4579-80F0-C4BA900C6FCF}" dt="2022-07-08T11:54:20.818" v="32"/>
        <pc:sldMasterMkLst>
          <pc:docMk/>
          <pc:sldMasterMk cId="1895771580" sldId="2147483712"/>
        </pc:sldMasterMkLst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3270475851" sldId="2147483782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271464520" sldId="2147483783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1421432207" sldId="2147483784"/>
          </pc:sldLayoutMkLst>
        </pc:sldLayoutChg>
        <pc:sldLayoutChg chg="add">
          <pc:chgData name="MARSH, WANDA" userId="S::wanda.marsh@lhsystems.com::da2e2486-98f2-49dd-b9f7-da72561c1b02" providerId="AD" clId="Web-{180EE1D2-C45A-4579-80F0-C4BA900C6FCF}" dt="2022-07-08T11:54:20.818" v="32"/>
          <pc:sldLayoutMkLst>
            <pc:docMk/>
            <pc:sldMasterMk cId="1895771580" sldId="2147483712"/>
            <pc:sldLayoutMk cId="2008744914" sldId="2147483785"/>
          </pc:sldLayoutMkLst>
        </pc:sldLayoutChg>
      </pc:sldMasterChg>
    </pc:docChg>
  </pc:docChgLst>
  <pc:docChgLst>
    <pc:chgData name="VERES, JANOS" userId="S::janos.veres@lhsystems.com::c10494d3-c570-44be-b9ee-e8ca80db21a2" providerId="AD" clId="Web-{1D269972-A7AD-4520-A8EB-E356448074D7}"/>
    <pc:docChg chg="modSld">
      <pc:chgData name="VERES, JANOS" userId="S::janos.veres@lhsystems.com::c10494d3-c570-44be-b9ee-e8ca80db21a2" providerId="AD" clId="Web-{1D269972-A7AD-4520-A8EB-E356448074D7}" dt="2022-07-12T14:27:19.944" v="0"/>
      <pc:docMkLst>
        <pc:docMk/>
      </pc:docMkLst>
      <pc:sldChg chg="delSp">
        <pc:chgData name="VERES, JANOS" userId="S::janos.veres@lhsystems.com::c10494d3-c570-44be-b9ee-e8ca80db21a2" providerId="AD" clId="Web-{1D269972-A7AD-4520-A8EB-E356448074D7}" dt="2022-07-12T14:27:19.944" v="0"/>
        <pc:sldMkLst>
          <pc:docMk/>
          <pc:sldMk cId="3822467622" sldId="354"/>
        </pc:sldMkLst>
        <pc:spChg chg="del">
          <ac:chgData name="VERES, JANOS" userId="S::janos.veres@lhsystems.com::c10494d3-c570-44be-b9ee-e8ca80db21a2" providerId="AD" clId="Web-{1D269972-A7AD-4520-A8EB-E356448074D7}" dt="2022-07-12T14:27:19.944" v="0"/>
          <ac:spMkLst>
            <pc:docMk/>
            <pc:sldMk cId="3822467622" sldId="354"/>
            <ac:spMk id="10" creationId="{934E9D53-5854-FD54-A24C-C240FDC1ED2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8/29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Session</a:t>
            </a:r>
            <a:r>
              <a:rPr lang="de-DE" baseline="0" dirty="0" smtClean="0"/>
              <a:t> is recorded</a:t>
            </a:r>
          </a:p>
          <a:p>
            <a:r>
              <a:rPr lang="de-DE" baseline="0" dirty="0" smtClean="0"/>
              <a:t>- Audience is muted</a:t>
            </a:r>
          </a:p>
          <a:p>
            <a:r>
              <a:rPr lang="de-DE" baseline="0" dirty="0" smtClean="0"/>
              <a:t>- Questions in the chat</a:t>
            </a:r>
          </a:p>
          <a:p>
            <a:r>
              <a:rPr lang="de-DE" baseline="0" dirty="0" smtClean="0"/>
              <a:t>- Q&amp;A at the e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235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1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701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the audience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920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scribe briefly</a:t>
            </a:r>
            <a:r>
              <a:rPr lang="de-DE" baseline="0" dirty="0" smtClean="0"/>
              <a:t> what we see</a:t>
            </a:r>
          </a:p>
          <a:p>
            <a:r>
              <a:rPr lang="de-DE" baseline="0" dirty="0" smtClean="0"/>
              <a:t>Connect with the Application sli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072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7976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710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93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887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034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374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663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61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47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985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7283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276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393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1775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8989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7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96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5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018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186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146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88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06075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271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6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9486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209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59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 Agility</a:t>
            </a:r>
            <a:r>
              <a:rPr lang="de-DE" baseline="0" dirty="0" smtClean="0"/>
              <a:t> across the organisation</a:t>
            </a:r>
          </a:p>
          <a:p>
            <a:r>
              <a:rPr lang="de-DE" baseline="0" dirty="0" smtClean="0"/>
              <a:t>- Sales vs Production</a:t>
            </a:r>
          </a:p>
          <a:p>
            <a:r>
              <a:rPr lang="de-DE" baseline="0" dirty="0" smtClean="0"/>
              <a:t>- Agility in the code bas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215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 lot of organisations</a:t>
            </a:r>
            <a:r>
              <a:rPr lang="de-DE" baseline="0" dirty="0" smtClean="0"/>
              <a:t>/teams use Scrum but they are not truely agi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951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ckend</a:t>
            </a:r>
            <a:r>
              <a:rPr lang="en-US" baseline="0" dirty="0" smtClean="0"/>
              <a:t> -&gt; C#/Java …</a:t>
            </a:r>
          </a:p>
          <a:p>
            <a:r>
              <a:rPr lang="en-US" baseline="0" dirty="0" smtClean="0"/>
              <a:t>Frontend -&gt; Angular/React…</a:t>
            </a:r>
          </a:p>
          <a:p>
            <a:r>
              <a:rPr lang="en-US" baseline="0" dirty="0" smtClean="0"/>
              <a:t>Seems to me the we mean … client side/server side</a:t>
            </a:r>
          </a:p>
          <a:p>
            <a:endParaRPr lang="en-US" dirty="0" smtClean="0"/>
          </a:p>
          <a:p>
            <a:r>
              <a:rPr lang="en-US" dirty="0" smtClean="0"/>
              <a:t>Front</a:t>
            </a:r>
            <a:r>
              <a:rPr lang="en-US" baseline="0" dirty="0" smtClean="0"/>
              <a:t> end is the UI and backend is the logic behind 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189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en we say application we usually mean what th</a:t>
            </a:r>
            <a:r>
              <a:rPr lang="en-US" baseline="0" dirty="0" smtClean="0"/>
              <a:t>e user sees </a:t>
            </a:r>
          </a:p>
          <a:p>
            <a:r>
              <a:rPr lang="en-US" baseline="0" dirty="0" smtClean="0"/>
              <a:t>The standard modern web app is 2 application </a:t>
            </a:r>
          </a:p>
          <a:p>
            <a:r>
              <a:rPr lang="en-US" baseline="0" dirty="0" smtClean="0"/>
              <a:t>Client and ser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97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agrams from Clean Architecture</a:t>
            </a:r>
            <a:r>
              <a:rPr lang="de-DE" baseline="0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41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538989"/>
            <a:ext cx="8268026" cy="1527533"/>
          </a:xfrm>
        </p:spPr>
        <p:txBody>
          <a:bodyPr anchor="b"/>
          <a:lstStyle>
            <a:lvl1pPr>
              <a:defRPr sz="10000"/>
            </a:lvl1pPr>
          </a:lstStyle>
          <a:p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 baseline="0"/>
            </a:lvl1pPr>
          </a:lstStyle>
          <a:p>
            <a:pPr lvl="0"/>
            <a:r>
              <a:rPr lang="de-DE"/>
              <a:t>interna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G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" y="3176"/>
            <a:ext cx="9143526" cy="514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7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4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5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2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9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Gefaltete Ecke 44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4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0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/>
                </a:solidFill>
                <a:latin typeface="+mj-lt"/>
              </a:rPr>
              <a:t>Agenda</a:t>
            </a:r>
            <a:endParaRPr lang="en-US" sz="10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Gefaltete Ecke 9"/>
          <p:cNvSpPr/>
          <p:nvPr userDrawn="1"/>
        </p:nvSpPr>
        <p:spPr>
          <a:xfrm>
            <a:off x="-1144836" y="288925"/>
            <a:ext cx="1073161" cy="362422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necessary, insert your own image under “Format background”.</a:t>
            </a:r>
          </a:p>
          <a:p>
            <a:pPr marL="131763" marR="0" lvl="0" indent="-131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 a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ble from the collection 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end of this presentation as required. If it was deleted, you will also find it in the slide master.</a:t>
            </a:r>
            <a:endParaRPr lang="de-DE" sz="1000" b="0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57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7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5717536" y="1694440"/>
            <a:ext cx="3723326" cy="3414948"/>
          </a:xfrm>
        </p:spPr>
        <p:txBody>
          <a:bodyPr anchor="b"/>
          <a:lstStyle>
            <a:lvl1pPr algn="r">
              <a:defRPr sz="25000">
                <a:solidFill>
                  <a:schemeClr val="bg1"/>
                </a:solidFill>
                <a:latin typeface="+mn-lt"/>
              </a:defRPr>
            </a:lvl1pPr>
            <a:lvl2pPr algn="r">
              <a:defRPr sz="250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00</a:t>
            </a:r>
            <a:endParaRPr lang="en-US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86633" y="288926"/>
            <a:ext cx="41792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48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48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de-DE"/>
              <a:t>Agenda </a:t>
            </a:r>
            <a:r>
              <a:rPr lang="de-DE" err="1"/>
              <a:t>list</a:t>
            </a:r>
            <a:r>
              <a:rPr lang="de-DE"/>
              <a:t> item</a:t>
            </a:r>
            <a:endParaRPr lang="en-US"/>
          </a:p>
        </p:txBody>
      </p:sp>
      <p:sp>
        <p:nvSpPr>
          <p:cNvPr id="45" name="Gefaltete Ecke 44"/>
          <p:cNvSpPr/>
          <p:nvPr userDrawn="1"/>
        </p:nvSpPr>
        <p:spPr>
          <a:xfrm>
            <a:off x="-1181528" y="288925"/>
            <a:ext cx="1109853" cy="3856355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Agenda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Introduction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Enter agenda text in placeholder at top left. </a:t>
            </a:r>
            <a:endParaRPr lang="de-DE" sz="1000" b="0" baseline="0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baseline="0" noProof="0">
                <a:solidFill>
                  <a:schemeClr val="bg1"/>
                </a:solidFill>
              </a:rPr>
              <a:t>Enter bullet point consisting of </a:t>
            </a:r>
            <a:br>
              <a:rPr lang="en-US" sz="1000" baseline="0" noProof="0">
                <a:solidFill>
                  <a:schemeClr val="bg1"/>
                </a:solidFill>
              </a:rPr>
            </a:br>
            <a:r>
              <a:rPr lang="en-US" sz="1000" baseline="0" noProof="0">
                <a:solidFill>
                  <a:schemeClr val="bg1"/>
                </a:solidFill>
              </a:rPr>
              <a:t>2 digits in placeholder bottom right. </a:t>
            </a: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de-DE" sz="1000" b="0" noProof="0">
                <a:solidFill>
                  <a:schemeClr val="bg1"/>
                </a:solidFill>
              </a:rPr>
              <a:t/>
            </a:r>
            <a:br>
              <a:rPr lang="de-DE" sz="1000" b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With light image blue text </a:t>
            </a:r>
            <a:r>
              <a:rPr lang="de-DE" sz="1000" b="1" baseline="0" noProof="0">
                <a:solidFill>
                  <a:schemeClr val="bg1"/>
                </a:solidFill>
              </a:rPr>
              <a:t/>
            </a:r>
            <a:br>
              <a:rPr lang="de-DE" sz="1000" b="1" baseline="0" noProof="0">
                <a:solidFill>
                  <a:schemeClr val="bg1"/>
                </a:solidFill>
              </a:rPr>
            </a:br>
            <a:r>
              <a:rPr lang="en-US" sz="1000" b="1" baseline="0" noProof="0">
                <a:solidFill>
                  <a:schemeClr val="bg1"/>
                </a:solidFill>
              </a:rPr>
              <a:t>(per format level 2). </a:t>
            </a: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27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 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701986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64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914400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Insert image</a:t>
            </a:r>
            <a:br>
              <a:rPr lang="de-DE"/>
            </a:br>
            <a:r>
              <a:rPr lang="de-DE"/>
              <a:t/>
            </a:r>
            <a:br>
              <a:rPr lang="de-DE"/>
            </a:br>
            <a:r>
              <a:rPr lang="en-GB"/>
              <a:t>If required, use “Reset slide” command to restore layer order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337" y="1131888"/>
            <a:ext cx="414020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91661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 and content on imag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ext color depending on image content. Switch between blue and white possible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void inflationary usage.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6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59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522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, tables and graphics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16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86635" y="303212"/>
            <a:ext cx="8498590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 master format by clicking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86635" y="1131888"/>
            <a:ext cx="4140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tex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1" name="Gefaltete Ecke 10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, content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lide for texts </a:t>
            </a:r>
            <a: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de-DE" sz="1000" b="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th imag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4645225" y="1131888"/>
            <a:ext cx="4140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9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800" b="1" i="0" baseline="0">
              <a:solidFill>
                <a:schemeClr val="tx1"/>
              </a:solidFill>
              <a:latin typeface="Lufthansa Office Head" panose="020B0404040000000004" pitchFamily="34" charset="0"/>
              <a:ea typeface="+mn-ea"/>
              <a:cs typeface="+mn-cs"/>
              <a:sym typeface="Lufthansa Office Head" panose="020B04040400000000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517199" y="4443323"/>
            <a:ext cx="4133402" cy="332568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1000" b="0">
                <a:solidFill>
                  <a:schemeClr val="accent3"/>
                </a:solidFill>
              </a:defRPr>
            </a:lvl1pPr>
            <a:lvl2pPr>
              <a:defRPr sz="1000"/>
            </a:lvl2pPr>
          </a:lstStyle>
          <a:p>
            <a:pPr lvl="0"/>
            <a:r>
              <a:rPr lang="de-DE"/>
              <a:t>Title of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7199" y="2776678"/>
            <a:ext cx="4126239" cy="1273843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72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de-DE"/>
              <a:t>Text</a:t>
            </a:r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01710" y="4435756"/>
            <a:ext cx="1448891" cy="340135"/>
          </a:xfrm>
        </p:spPr>
        <p:txBody>
          <a:bodyPr wrap="square" tIns="90000" bIns="90000">
            <a:spAutoFit/>
          </a:bodyPr>
          <a:lstStyle>
            <a:lvl1pPr algn="ctr">
              <a:defRPr sz="1000"/>
            </a:lvl1pPr>
          </a:lstStyle>
          <a:p>
            <a:pPr lvl="0"/>
            <a:r>
              <a:rPr lang="de-DE"/>
              <a:t>Label</a:t>
            </a:r>
            <a:endParaRPr lang="en-US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3201710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Title-H</a:t>
            </a:r>
          </a:p>
          <a:p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  <a:p>
            <a:endParaRPr lang="en-US" sz="1400" b="1" noProof="0">
              <a:solidFill>
                <a:schemeClr val="bg1"/>
              </a:solidFill>
            </a:endParaRPr>
          </a:p>
          <a:p>
            <a:endParaRPr lang="en-US" sz="1400" b="1" noProof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3210224" y="5214398"/>
            <a:ext cx="5933776" cy="357255"/>
            <a:chOff x="2653913" y="5214398"/>
            <a:chExt cx="5933776" cy="357255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226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2062163" algn="l"/>
                </a:tabLst>
              </a:pPr>
              <a:r>
                <a:rPr lang="en-US" sz="1000" baseline="0" noProof="0">
                  <a:solidFill>
                    <a:schemeClr val="bg1"/>
                  </a:solidFill>
                </a:rPr>
                <a:t>Please enter the label here 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and </a:t>
              </a:r>
              <a:r>
                <a:rPr lang="en-US" sz="1000" baseline="0" noProof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5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72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1144836" y="288926"/>
            <a:ext cx="107316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Image only 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Insert image here</a:t>
            </a:r>
            <a:endParaRPr lang="en-US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9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80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Final slide</a:t>
            </a:r>
            <a:endParaRPr lang="en-US" sz="1400" b="1" noProof="0">
              <a:solidFill>
                <a:schemeClr val="bg1"/>
              </a:solidFill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ter your contact details here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97274" y="2181429"/>
            <a:ext cx="371856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Your presenter was: &lt;name&gt;</a:t>
            </a:r>
            <a:br>
              <a:rPr lang="en-US"/>
            </a:br>
            <a:r>
              <a:rPr lang="en-US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604560" y="1223487"/>
            <a:ext cx="6096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4800" baseline="0" noProof="0">
                <a:solidFill>
                  <a:schemeClr val="accent5"/>
                </a:solidFill>
              </a:rPr>
              <a:t>→</a:t>
            </a:r>
            <a:endParaRPr lang="de-DE" sz="480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097274" y="1418654"/>
            <a:ext cx="2838994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2000" baseline="0">
                <a:solidFill>
                  <a:schemeClr val="tx2"/>
                </a:solidFill>
              </a:rPr>
              <a:t>Contact</a:t>
            </a:r>
            <a:endParaRPr lang="de-DE" sz="200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1554782" y="1130481"/>
            <a:ext cx="1620000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Portrait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7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40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914400" rtl="0" eaLnBrk="1" fontAlgn="auto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imag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f required, use “Reset slide” command to restore layer order</a:t>
            </a:r>
          </a:p>
        </p:txBody>
      </p:sp>
      <p:sp>
        <p:nvSpPr>
          <p:cNvPr id="12" name="Gefaltete Ecke 11"/>
          <p:cNvSpPr/>
          <p:nvPr userDrawn="1"/>
        </p:nvSpPr>
        <p:spPr>
          <a:xfrm>
            <a:off x="-1144836" y="288926"/>
            <a:ext cx="1073161" cy="3379370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72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1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nsert own image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Adjust text frame width and optimize vertical position for image content.</a:t>
            </a:r>
          </a:p>
          <a:p>
            <a:pPr marL="180975" indent="-180975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aseline="0" noProof="0">
                <a:solidFill>
                  <a:schemeClr val="bg1"/>
                </a:solidFill>
              </a:rPr>
              <a:t>If required yellow arrow, not bold, as final character in the text box</a:t>
            </a:r>
            <a:r>
              <a:rPr lang="en-US" sz="1000" baseline="0" noProof="0">
                <a:solidFill>
                  <a:schemeClr val="accent5"/>
                </a:solidFill>
              </a:rPr>
              <a:t>→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de-DE" sz="1000" b="0" baseline="0" noProof="0">
              <a:solidFill>
                <a:schemeClr val="bg1"/>
              </a:solidFill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86634" y="3365060"/>
            <a:ext cx="6357322" cy="934006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1000" baseline="0"/>
            </a:lvl2pPr>
          </a:lstStyle>
          <a:p>
            <a:pPr lvl="0"/>
            <a:r>
              <a:rPr lang="de-DE"/>
              <a:t>Enter titl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59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0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80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0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2134441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1287256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7642429"/>
              </p:ext>
            </p:extLst>
          </p:nvPr>
        </p:nvGraphicFramePr>
        <p:xfrm>
          <a:off x="252252" y="3848554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47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89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graphic elements required from the slide master 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13034192"/>
              </p:ext>
            </p:extLst>
          </p:nvPr>
        </p:nvGraphicFramePr>
        <p:xfrm>
          <a:off x="290513" y="1136661"/>
          <a:ext cx="4137025" cy="229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8990893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2939658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46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03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unfussy image content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, text can also be whit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9672006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4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0" y="-292697"/>
            <a:ext cx="5334094" cy="1646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90000"/>
              <a:buFont typeface="Wingdings" panose="05000000000000000000" pitchFamily="2" charset="2"/>
              <a:buNone/>
            </a:pPr>
            <a:r>
              <a:rPr lang="en-US" sz="10800" b="1" baseline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10800" b="1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90513" y="3975101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Table for agenda with detailed image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the table to the Agenda slide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8979238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-16384"/>
            <a:ext cx="9178317" cy="51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51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efaltete Ecke 11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whit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025" y="287551"/>
            <a:ext cx="1861200" cy="1898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703" y="277897"/>
            <a:ext cx="1879200" cy="208591"/>
          </a:xfrm>
          <a:prstGeom prst="rect">
            <a:avLst/>
          </a:prstGeom>
        </p:spPr>
      </p:pic>
      <p:sp>
        <p:nvSpPr>
          <p:cNvPr id="8" name="Gefaltete Ecke 7"/>
          <p:cNvSpPr/>
          <p:nvPr userDrawn="1"/>
        </p:nvSpPr>
        <p:spPr>
          <a:xfrm>
            <a:off x="-1144836" y="288925"/>
            <a:ext cx="1073161" cy="2621981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2, full screen. </a:t>
            </a:r>
            <a:br>
              <a:rPr lang="en-US" sz="1400" b="1" baseline="0" noProof="0">
                <a:solidFill>
                  <a:schemeClr val="bg1"/>
                </a:solidFill>
              </a:rPr>
            </a:br>
            <a:r>
              <a:rPr lang="en-US" sz="1400" b="1" baseline="0" noProof="0">
                <a:solidFill>
                  <a:schemeClr val="bg1"/>
                </a:solidFill>
              </a:rPr>
              <a:t>Logo blue</a:t>
            </a:r>
            <a:endParaRPr lang="en-US" sz="1400" b="1" noProof="0">
              <a:solidFill>
                <a:schemeClr val="bg1"/>
              </a:solidFill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the appropriate layout from </a:t>
            </a:r>
            <a:r>
              <a:rPr kumimoji="0" lang="en-US" sz="1000" b="1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templates</a:t>
            </a: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kern="1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 under “Format background”.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0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2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3</a:t>
            </a: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eye-catching text</a:t>
            </a:r>
          </a:p>
          <a:p>
            <a:endParaRPr lang="de-DE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177"/>
            <a:ext cx="8497887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96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96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de-DE"/>
              <a:t>Headline </a:t>
            </a:r>
          </a:p>
          <a:p>
            <a:pPr lvl="1"/>
            <a:r>
              <a:rPr lang="de-DE"/>
              <a:t>with highlight</a:t>
            </a:r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3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750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3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44836" y="288926"/>
            <a:ext cx="107316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400" b="1" baseline="0" noProof="0">
                <a:solidFill>
                  <a:schemeClr val="bg1"/>
                </a:solidFill>
              </a:rPr>
              <a:t>Separating slide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baseline="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ighlight text with yellow</a:t>
            </a:r>
            <a:endParaRPr lang="en-US" sz="1000" b="0" kern="1200" baseline="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03212"/>
            <a:ext cx="8497887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50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/>
              <a:t>Edit title master format by clicking</a:t>
            </a:r>
            <a:r>
              <a:rPr lang="de-DE"/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/>
              <a:t>Format </a:t>
            </a:r>
            <a:r>
              <a:rPr lang="de-DE" err="1"/>
              <a:t>highlighting</a:t>
            </a:r>
            <a:r>
              <a:rPr lang="de-DE"/>
              <a:t> yellow.</a:t>
            </a:r>
            <a:endParaRPr lang="en-US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9144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216000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noProof="0"/>
              <a:t>Sept 01, 20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Page </a:t>
            </a:r>
            <a:fld id="{67242389-55B8-40B0-97B3-D8452A5F367E}" type="slidenum">
              <a:rPr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7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89355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" name="think-cell Folie" r:id="rId41" imgW="306" imgH="306" progId="TCLayout.ActiveDocument.1">
                  <p:embed/>
                </p:oleObj>
              </mc:Choice>
              <mc:Fallback>
                <p:oleObj name="think-cell Foli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4551364"/>
            <a:ext cx="9144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87338" y="303212"/>
            <a:ext cx="8497886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87337" y="1131888"/>
            <a:ext cx="8497887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/>
              <a:t>Edit text master format</a:t>
            </a:r>
          </a:p>
          <a:p>
            <a:pPr lvl="1"/>
            <a:r>
              <a:rPr lang="en-US" baseline="0" noProof="0"/>
              <a:t>Second level</a:t>
            </a:r>
          </a:p>
          <a:p>
            <a:pPr lvl="2"/>
            <a:r>
              <a:rPr lang="en-US" baseline="0" noProof="0"/>
              <a:t>Third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3"/>
            <a:r>
              <a:rPr lang="en-US" baseline="0" noProof="0"/>
              <a:t>Four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  <a:p>
            <a:pPr lvl="4"/>
            <a:r>
              <a:rPr lang="en-US" baseline="0" noProof="0"/>
              <a:t>Fifth </a:t>
            </a:r>
            <a:r>
              <a:rPr lang="de-DE" noProof="0"/>
              <a:t/>
            </a:r>
            <a:br>
              <a:rPr lang="de-DE" noProof="0"/>
            </a:br>
            <a:r>
              <a:rPr lang="en-US" baseline="0" noProof="0"/>
              <a:t>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7337" y="4790748"/>
            <a:ext cx="54983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87338" y="4695825"/>
            <a:ext cx="21600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87338" y="48856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/>
              <a:t>Page </a:t>
            </a:r>
            <a:fld id="{67242389-55B8-40B0-97B3-D8452A5F367E}" type="slidenum">
              <a:pPr/>
              <a:t>‹#›</a:t>
            </a:fld>
            <a:endParaRPr lang="de-DE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07299" y="-306362"/>
            <a:ext cx="9758597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8"/>
          <p:cNvSpPr txBox="1">
            <a:spLocks/>
          </p:cNvSpPr>
          <p:nvPr userDrawn="1"/>
        </p:nvSpPr>
        <p:spPr>
          <a:xfrm>
            <a:off x="2609625" y="4778880"/>
            <a:ext cx="1448891" cy="120674"/>
          </a:xfrm>
          <a:prstGeom prst="rect">
            <a:avLst/>
          </a:prstGeom>
        </p:spPr>
        <p:txBody>
          <a:bodyPr wrap="square" lIns="144000" tIns="0" bIns="0">
            <a:sp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8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0"/>
              <a:t>Internal</a:t>
            </a:r>
            <a:endParaRPr lang="en-US"/>
          </a:p>
        </p:txBody>
      </p:sp>
      <p:cxnSp>
        <p:nvCxnSpPr>
          <p:cNvPr id="31" name="Gerader Verbinder 30"/>
          <p:cNvCxnSpPr/>
          <p:nvPr userDrawn="1"/>
        </p:nvCxnSpPr>
        <p:spPr>
          <a:xfrm>
            <a:off x="2609625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37" y="4746495"/>
            <a:ext cx="1861570" cy="20663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398520" y="5216089"/>
            <a:ext cx="2887100" cy="509453"/>
            <a:chOff x="-398520" y="5216089"/>
            <a:chExt cx="2887100" cy="509453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07791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="1" baseline="0" noProof="0">
                  <a:solidFill>
                    <a:schemeClr val="tx1"/>
                  </a:solidFill>
                </a:rPr>
                <a:t>“header and footer” </a:t>
              </a:r>
              <a:r>
                <a:rPr lang="en-US" sz="1000" b="0" baseline="0" noProof="0">
                  <a:solidFill>
                    <a:schemeClr val="tx1"/>
                  </a:solidFill>
                </a:rPr>
                <a:t>dialog</a:t>
              </a:r>
              <a:r>
                <a:rPr lang="en-US" sz="1000" baseline="0" noProof="0">
                  <a:solidFill>
                    <a:schemeClr val="tx1"/>
                  </a:solidFill>
                </a:rPr>
                <a:t>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Insert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2653913" y="5214398"/>
            <a:ext cx="2647255" cy="511144"/>
            <a:chOff x="2653913" y="5214398"/>
            <a:chExt cx="2647255" cy="511144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</a:pPr>
              <a:endParaRPr lang="en-US" sz="1000" b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80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600"/>
                </a:spcAft>
                <a:buFont typeface="+mj-lt"/>
                <a:buNone/>
                <a:tabLst>
                  <a:tab pos="1701800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</a:rPr>
                <a:t>Enter label on </a:t>
              </a:r>
              <a:r>
                <a:rPr lang="en-US" sz="1000" b="1" baseline="0" noProof="0">
                  <a:solidFill>
                    <a:schemeClr val="tx1"/>
                  </a:solidFill>
                </a:rPr>
                <a:t>slide master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Tab </a:t>
              </a:r>
              <a:r>
                <a:rPr lang="de-DE" sz="1000" b="0" noProof="0">
                  <a:solidFill>
                    <a:schemeClr val="bg1"/>
                  </a:solidFill>
                </a:rPr>
                <a:t/>
              </a:r>
              <a:br>
                <a:rPr lang="de-DE" sz="1000" b="0" noProof="0">
                  <a:solidFill>
                    <a:schemeClr val="bg1"/>
                  </a:solidFill>
                </a:rPr>
              </a:br>
              <a:r>
                <a:rPr lang="en-US" sz="1000" baseline="0" noProof="0">
                  <a:solidFill>
                    <a:schemeClr val="tx1"/>
                  </a:solidFill>
                </a:rPr>
                <a:t>at top	</a:t>
              </a:r>
              <a:r>
                <a:rPr lang="en-US" sz="1000" b="1" baseline="0" noProof="0">
                  <a:solidFill>
                    <a:schemeClr val="bg1"/>
                  </a:solidFill>
                </a:rPr>
                <a:t>“View” </a:t>
              </a:r>
              <a:endParaRPr lang="de-DE" sz="1000" b="1" baseline="0" noProof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7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26" r:id="rId3"/>
    <p:sldLayoutId id="2147483777" r:id="rId4"/>
    <p:sldLayoutId id="2147483778" r:id="rId5"/>
    <p:sldLayoutId id="2147483775" r:id="rId6"/>
    <p:sldLayoutId id="2147483776" r:id="rId7"/>
    <p:sldLayoutId id="2147483730" r:id="rId8"/>
    <p:sldLayoutId id="2147483739" r:id="rId9"/>
    <p:sldLayoutId id="2147483779" r:id="rId10"/>
    <p:sldLayoutId id="2147483780" r:id="rId11"/>
    <p:sldLayoutId id="2147483781" r:id="rId12"/>
    <p:sldLayoutId id="2147483742" r:id="rId13"/>
    <p:sldLayoutId id="2147483764" r:id="rId14"/>
    <p:sldLayoutId id="2147483743" r:id="rId15"/>
    <p:sldLayoutId id="2147483725" r:id="rId16"/>
    <p:sldLayoutId id="2147483757" r:id="rId17"/>
    <p:sldLayoutId id="2147483753" r:id="rId18"/>
    <p:sldLayoutId id="2147483754" r:id="rId19"/>
    <p:sldLayoutId id="2147483738" r:id="rId20"/>
    <p:sldLayoutId id="2147483759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82" r:id="rId30"/>
    <p:sldLayoutId id="2147483783" r:id="rId31"/>
    <p:sldLayoutId id="2147483784" r:id="rId32"/>
    <p:sldLayoutId id="2147483785" r:id="rId33"/>
    <p:sldLayoutId id="2147483744" r:id="rId34"/>
    <p:sldLayoutId id="2147483746" r:id="rId35"/>
    <p:sldLayoutId id="2147483756" r:id="rId36"/>
    <p:sldLayoutId id="214748376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98000"/>
        </a:lnSpc>
        <a:spcBef>
          <a:spcPts val="6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89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91" userDrawn="1">
          <p15:clr>
            <a:srgbClr val="F26B43"/>
          </p15:clr>
        </p15:guide>
        <p15:guide id="6" orient="horz" pos="554" userDrawn="1">
          <p15:clr>
            <a:srgbClr val="F26B43"/>
          </p15:clr>
        </p15:guide>
        <p15:guide id="7" orient="horz" pos="713" userDrawn="1">
          <p15:clr>
            <a:srgbClr val="F26B43"/>
          </p15:clr>
        </p15:guide>
        <p15:guide id="8" orient="horz" pos="2867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jpg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9.jpg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2.jpg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3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4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ag1830" TargetMode="External"/><Relationship Id="rId3" Type="http://schemas.openxmlformats.org/officeDocument/2006/relationships/slideLayout" Target="../slideLayouts/slideLayout21.xml"/><Relationship Id="rId7" Type="http://schemas.openxmlformats.org/officeDocument/2006/relationships/hyperlink" Target="mailto:evangelos.barmpas@lhsystems.com" TargetMode="Externa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5.emf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7.xml"/><Relationship Id="rId7" Type="http://schemas.openxmlformats.org/officeDocument/2006/relationships/image" Target="../media/image15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6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0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0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3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467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367337" y="913107"/>
            <a:ext cx="6553200" cy="3020717"/>
          </a:xfrm>
        </p:spPr>
        <p:txBody>
          <a:bodyPr/>
          <a:lstStyle/>
          <a:p>
            <a:pPr algn="ctr"/>
            <a:r>
              <a:rPr lang="en-US" sz="8000" dirty="0" smtClean="0">
                <a:solidFill>
                  <a:srgbClr val="FFAD00"/>
                </a:solidFill>
              </a:rPr>
              <a:t>Application</a:t>
            </a:r>
            <a:endParaRPr lang="en-US" dirty="0">
              <a:solidFill>
                <a:srgbClr val="FFAD00"/>
              </a:solidFill>
            </a:endParaRPr>
          </a:p>
          <a:p>
            <a:pPr algn="ctr"/>
            <a:r>
              <a:rPr lang="en-US" sz="4800" dirty="0" smtClean="0"/>
              <a:t>What is it ?</a:t>
            </a:r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Application is the </a:t>
            </a:r>
            <a:r>
              <a:rPr lang="en-US" sz="2000" dirty="0" smtClean="0">
                <a:solidFill>
                  <a:srgbClr val="FFAD00"/>
                </a:solidFill>
              </a:rPr>
              <a:t>collection of objects </a:t>
            </a:r>
            <a:r>
              <a:rPr lang="en-US" sz="2000" dirty="0" smtClean="0"/>
              <a:t>in the code and the </a:t>
            </a:r>
            <a:r>
              <a:rPr lang="en-US" sz="2000" dirty="0" smtClean="0">
                <a:solidFill>
                  <a:srgbClr val="FFAD00"/>
                </a:solidFill>
              </a:rPr>
              <a:t>business rules </a:t>
            </a:r>
            <a:r>
              <a:rPr lang="en-US" sz="2000" dirty="0" smtClean="0"/>
              <a:t>that apply to them.</a:t>
            </a:r>
            <a:endParaRPr lang="de-CH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073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Productivity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942347"/>
              </p:ext>
            </p:extLst>
          </p:nvPr>
        </p:nvGraphicFramePr>
        <p:xfrm>
          <a:off x="191646" y="879475"/>
          <a:ext cx="2721756" cy="2392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72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3835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en little or no thought is given to the cleanliness of the code or the structure of the design, as the project grows and complexity increases, the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effort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for any given new feature, </a:t>
                      </a:r>
                      <a:r>
                        <a:rPr lang="en-US" sz="1400" b="1" baseline="0" dirty="0" smtClean="0">
                          <a:solidFill>
                            <a:srgbClr val="FFAD00"/>
                          </a:solidFill>
                          <a:latin typeface="+mn-lt"/>
                        </a:rPr>
                        <a:t>increases</a:t>
                      </a:r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 as well.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02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1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172" y="879475"/>
            <a:ext cx="5549052" cy="333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4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AD00"/>
                </a:solidFill>
              </a:rPr>
              <a:t>Cost</a:t>
            </a:r>
            <a:r>
              <a:rPr lang="en-US" dirty="0" smtClean="0"/>
              <a:t> by release</a:t>
            </a:r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347786"/>
              </p:ext>
            </p:extLst>
          </p:nvPr>
        </p:nvGraphicFramePr>
        <p:xfrm>
          <a:off x="5980361" y="879475"/>
          <a:ext cx="2721756" cy="2155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solidFill>
                            <a:schemeClr val="accent3"/>
                          </a:solidFill>
                          <a:latin typeface="+mn-lt"/>
                        </a:rPr>
                        <a:t>What caused this remarkable change in productivity? Why was the code 40 times more expensive to produce in release 8 as opposed to release 1?</a:t>
                      </a:r>
                      <a:endParaRPr lang="en-US" sz="1400" b="1" baseline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2</a:t>
            </a:fld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1" y="714374"/>
            <a:ext cx="5580063" cy="365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0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2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529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Some Theory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32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7337" y="1027687"/>
            <a:ext cx="4299903" cy="264515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Clea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Hexagonal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Onion Architec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Ports &amp; Adapt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0" dirty="0" smtClean="0">
                <a:solidFill>
                  <a:srgbClr val="747474"/>
                </a:solidFill>
              </a:rPr>
              <a:t>SOL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4</a:t>
            </a:fld>
            <a:endParaRPr lang="de-DE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62" r="14062"/>
          <a:stretch/>
        </p:blipFill>
        <p:spPr>
          <a:xfrm>
            <a:off x="4587240" y="730263"/>
            <a:ext cx="41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1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Clean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5</a:t>
            </a:fld>
            <a:endParaRPr lang="de-DE" noProof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299" y="340646"/>
            <a:ext cx="6295964" cy="44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4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Hexagonal Architecture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6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805" y="609601"/>
            <a:ext cx="4963583" cy="372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74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7338" y="303213"/>
            <a:ext cx="8497886" cy="306388"/>
          </a:xfrm>
        </p:spPr>
        <p:txBody>
          <a:bodyPr/>
          <a:lstStyle/>
          <a:p>
            <a:r>
              <a:rPr lang="en-US" dirty="0" smtClean="0"/>
              <a:t>Ports &amp; Adapters</a:t>
            </a:r>
            <a:br>
              <a:rPr lang="en-US" dirty="0" smtClean="0"/>
            </a:b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17</a:t>
            </a:fld>
            <a:endParaRPr lang="de-DE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392" y="747156"/>
            <a:ext cx="5583778" cy="381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ID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193800"/>
            <a:ext cx="8497887" cy="2854325"/>
          </a:xfrm>
        </p:spPr>
        <p:txBody>
          <a:bodyPr/>
          <a:lstStyle/>
          <a:p>
            <a:r>
              <a:rPr lang="en-US" dirty="0" smtClean="0"/>
              <a:t>Single Responsibility Principal (SRP)</a:t>
            </a:r>
          </a:p>
          <a:p>
            <a:r>
              <a:rPr lang="en-US" dirty="0" smtClean="0"/>
              <a:t> - </a:t>
            </a:r>
            <a:r>
              <a:rPr lang="en-US" b="0" dirty="0" smtClean="0"/>
              <a:t>Group things, that change together</a:t>
            </a:r>
          </a:p>
          <a:p>
            <a:r>
              <a:rPr lang="en-US" dirty="0" smtClean="0"/>
              <a:t>Open Closed Principal (OC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The code should be open for extension and closed for modification</a:t>
            </a:r>
          </a:p>
          <a:p>
            <a:r>
              <a:rPr lang="en-US" dirty="0" err="1" smtClean="0"/>
              <a:t>Liskov’s</a:t>
            </a:r>
            <a:r>
              <a:rPr lang="en-US" dirty="0" smtClean="0"/>
              <a:t> Substitution Principal (LS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Derived </a:t>
            </a:r>
            <a:r>
              <a:rPr lang="en-US" b="0" dirty="0"/>
              <a:t>classes should </a:t>
            </a:r>
            <a:r>
              <a:rPr lang="en-US" b="0" dirty="0" smtClean="0"/>
              <a:t>extend </a:t>
            </a:r>
            <a:r>
              <a:rPr lang="en-US" b="0" dirty="0"/>
              <a:t>their base classes without changing their behavior</a:t>
            </a:r>
          </a:p>
          <a:p>
            <a:r>
              <a:rPr lang="en-US" dirty="0" smtClean="0"/>
              <a:t>Interface Segregation Principal (IS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Just expose only the things that are needed to the consumer</a:t>
            </a:r>
          </a:p>
          <a:p>
            <a:r>
              <a:rPr lang="en-US" dirty="0" smtClean="0"/>
              <a:t>Dependency Inversion Principal (DIP)</a:t>
            </a:r>
          </a:p>
          <a:p>
            <a:r>
              <a:rPr lang="en-US" dirty="0" smtClean="0"/>
              <a:t>- </a:t>
            </a:r>
            <a:r>
              <a:rPr lang="en-US" b="0" dirty="0" smtClean="0"/>
              <a:t>The flow of control is opposite to the flow of execu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 smtClean="0"/>
              <a:t>Sept 01, 2022</a:t>
            </a:r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smtClean="0"/>
              <a:t>Page </a:t>
            </a:r>
            <a:fld id="{67242389-55B8-40B0-97B3-D8452A5F367E}" type="slidenum">
              <a:rPr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08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3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591050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Into the Cod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73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1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2019869"/>
            <a:ext cx="6330147" cy="1671849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sz="4600" dirty="0" smtClean="0">
                <a:solidFill>
                  <a:srgbClr val="05164D"/>
                </a:solidFill>
              </a:rPr>
              <a:t>Agile Software Architecture</a:t>
            </a:r>
            <a:r>
              <a:rPr lang="en-US" sz="4000" dirty="0">
                <a:solidFill>
                  <a:srgbClr val="05164D"/>
                </a:solidFill>
              </a:rPr>
              <a:t> 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1AD7297-5B97-7B76-F5F1-2D4A54B8AFFA}"/>
              </a:ext>
            </a:extLst>
          </p:cNvPr>
          <p:cNvSpPr txBox="1">
            <a:spLocks/>
          </p:cNvSpPr>
          <p:nvPr/>
        </p:nvSpPr>
        <p:spPr>
          <a:xfrm>
            <a:off x="-821" y="3787007"/>
            <a:ext cx="6335661" cy="562896"/>
          </a:xfrm>
          <a:prstGeom prst="rect">
            <a:avLst/>
          </a:prstGeo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4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 err="1" smtClean="0">
                <a:solidFill>
                  <a:srgbClr val="05164D"/>
                </a:solidFill>
              </a:rPr>
              <a:t>Evangelos</a:t>
            </a:r>
            <a:r>
              <a:rPr lang="en-US" sz="2000" dirty="0" smtClean="0">
                <a:solidFill>
                  <a:srgbClr val="05164D"/>
                </a:solidFill>
              </a:rPr>
              <a:t>, </a:t>
            </a:r>
            <a:r>
              <a:rPr lang="en-US" sz="2000" dirty="0" err="1" smtClean="0">
                <a:solidFill>
                  <a:srgbClr val="05164D"/>
                </a:solidFill>
              </a:rPr>
              <a:t>Barmpas</a:t>
            </a:r>
            <a:r>
              <a:rPr lang="en-US" sz="2000" dirty="0" smtClean="0">
                <a:solidFill>
                  <a:srgbClr val="05164D"/>
                </a:solidFill>
              </a:rPr>
              <a:t>, Software Engineer</a:t>
            </a:r>
            <a:endParaRPr lang="en-US" sz="2000" dirty="0">
              <a:solidFill>
                <a:srgbClr val="05164D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4539152"/>
            <a:ext cx="1448891" cy="29631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de-DE" sz="1000" dirty="0"/>
              <a:t>inter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0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 smtClean="0">
                <a:solidFill>
                  <a:schemeClr val="bg1"/>
                </a:solidFill>
              </a:rPr>
              <a:t>04</a:t>
            </a:r>
            <a:endParaRPr lang="en-US" baseline="0" noProof="0" dirty="0">
              <a:solidFill>
                <a:schemeClr val="bg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Conclusion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68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Quot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35856" y="1080993"/>
            <a:ext cx="6903244" cy="2309907"/>
          </a:xfrm>
        </p:spPr>
        <p:txBody>
          <a:bodyPr/>
          <a:lstStyle/>
          <a:p>
            <a:pPr lvl="1" algn="ctr"/>
            <a:r>
              <a:rPr lang="en-US" sz="3200" dirty="0" smtClean="0">
                <a:solidFill>
                  <a:srgbClr val="05164D"/>
                </a:solidFill>
              </a:rPr>
              <a:t>“A good software architecture allows major decisions to be differed. </a:t>
            </a:r>
          </a:p>
          <a:p>
            <a:pPr lvl="1" algn="ctr"/>
            <a:r>
              <a:rPr lang="en-US" sz="3200" dirty="0" smtClean="0">
                <a:solidFill>
                  <a:srgbClr val="05164D"/>
                </a:solidFill>
              </a:rPr>
              <a:t>A good Architect maximizes the number of decisions </a:t>
            </a:r>
            <a:r>
              <a:rPr lang="en-US" sz="3200" dirty="0" smtClean="0">
                <a:solidFill>
                  <a:srgbClr val="FFAD00"/>
                </a:solidFill>
              </a:rPr>
              <a:t>not</a:t>
            </a:r>
            <a:r>
              <a:rPr lang="en-US" sz="3200" dirty="0" smtClean="0">
                <a:solidFill>
                  <a:srgbClr val="05164D"/>
                </a:solidFill>
              </a:rPr>
              <a:t> made.”</a:t>
            </a:r>
            <a:endParaRPr lang="en-US" sz="3200" dirty="0">
              <a:solidFill>
                <a:srgbClr val="05164D"/>
              </a:solidFill>
            </a:endParaRPr>
          </a:p>
          <a:p>
            <a:pPr lvl="1" algn="r"/>
            <a:r>
              <a:rPr lang="en-US" dirty="0" smtClean="0"/>
              <a:t>Uncle Bob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757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Conclus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Work with domain experts</a:t>
            </a:r>
          </a:p>
          <a:p>
            <a:pPr marL="429750" lvl="2" indent="-285750"/>
            <a:r>
              <a:rPr lang="en-US" dirty="0" smtClean="0"/>
              <a:t>Define the domain entities</a:t>
            </a:r>
          </a:p>
          <a:p>
            <a:pPr marL="429750" lvl="2" indent="-285750"/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and common understanding </a:t>
            </a:r>
          </a:p>
          <a:p>
            <a:pPr marL="429750" lvl="2" indent="-285750"/>
            <a:r>
              <a:rPr lang="en-US" dirty="0" smtClean="0"/>
              <a:t>Develop a common </a:t>
            </a:r>
            <a:r>
              <a:rPr lang="en-US" dirty="0"/>
              <a:t>language to </a:t>
            </a:r>
            <a:r>
              <a:rPr lang="en-US" dirty="0" smtClean="0"/>
              <a:t>communicat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Analyze dependencies and recognize </a:t>
            </a: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boundaries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The core of the application should be protected from changes in the environment</a:t>
            </a:r>
          </a:p>
          <a:p>
            <a:pPr marL="429750" lvl="2" indent="-285750"/>
            <a:r>
              <a:rPr lang="en-US" dirty="0" smtClean="0"/>
              <a:t>Ideally the core layer should have zero dependenci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Differ important decision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  <a:latin typeface="+mj-lt"/>
              </a:rPr>
              <a:t>Heavily Unit test the core of the applic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accent3"/>
                </a:solidFill>
                <a:latin typeface="+mj-lt"/>
              </a:rPr>
              <a:t>Don’t over-engineer</a:t>
            </a:r>
            <a:endParaRPr lang="en-US" b="1" dirty="0">
              <a:solidFill>
                <a:schemeClr val="accent3"/>
              </a:solidFill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429750" lvl="2" indent="-285750"/>
            <a:endParaRPr lang="en-US" dirty="0" smtClean="0"/>
          </a:p>
          <a:p>
            <a:pPr marL="285750" lvl="1" indent="-285750"/>
            <a:endParaRPr lang="en-US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lvl="2" indent="0"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315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most important thing in software development is </a:t>
            </a:r>
            <a:r>
              <a:rPr lang="en-US" dirty="0">
                <a:solidFill>
                  <a:srgbClr val="FFAD00"/>
                </a:solidFill>
              </a:rPr>
              <a:t>Communication</a:t>
            </a:r>
            <a:r>
              <a:rPr lang="en-US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55770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7338" y="303212"/>
            <a:ext cx="8497886" cy="354013"/>
          </a:xfrm>
        </p:spPr>
        <p:txBody>
          <a:bodyPr/>
          <a:lstStyle/>
          <a:p>
            <a:r>
              <a:rPr lang="en-US" dirty="0" smtClean="0"/>
              <a:t>References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4</a:t>
            </a:fld>
            <a:endParaRPr lang="de-DE" noProof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168" y="745984"/>
            <a:ext cx="1711629" cy="22358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056" y="745984"/>
            <a:ext cx="1711629" cy="223581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25" y="745985"/>
            <a:ext cx="1692197" cy="22358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362" y="745985"/>
            <a:ext cx="1691663" cy="223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90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612777"/>
            <a:ext cx="8497887" cy="3578223"/>
          </a:xfrm>
        </p:spPr>
        <p:txBody>
          <a:bodyPr/>
          <a:lstStyle/>
          <a:p>
            <a:pPr algn="ctr"/>
            <a:r>
              <a:rPr lang="en-US" baseline="0" noProof="0" dirty="0" smtClean="0"/>
              <a:t>Questions</a:t>
            </a:r>
          </a:p>
          <a:p>
            <a:pPr algn="ctr"/>
            <a:r>
              <a:rPr lang="en-US" sz="15000" baseline="0" noProof="0" dirty="0" smtClean="0">
                <a:solidFill>
                  <a:srgbClr val="FFAD00"/>
                </a:solidFill>
              </a:rPr>
              <a:t>?</a:t>
            </a:r>
            <a:endParaRPr lang="en-US" sz="15000" baseline="0" noProof="0" dirty="0">
              <a:solidFill>
                <a:srgbClr val="FFAD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5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23663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 dirty="0" err="1" smtClean="0"/>
              <a:t>Evangel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rmpas</a:t>
            </a:r>
            <a:r>
              <a:rPr lang="en-US" dirty="0"/>
              <a:t/>
            </a:r>
            <a:br>
              <a:rPr lang="en-US" dirty="0"/>
            </a:br>
            <a:r>
              <a:rPr lang="en-US" baseline="0" dirty="0" smtClean="0">
                <a:hlinkClick r:id="rId7"/>
              </a:rPr>
              <a:t>evangelos</a:t>
            </a:r>
            <a:r>
              <a:rPr lang="en-US" dirty="0" smtClean="0">
                <a:hlinkClick r:id="rId7"/>
              </a:rPr>
              <a:t>.barmpas</a:t>
            </a:r>
            <a:r>
              <a:rPr lang="en-US" baseline="0" dirty="0" smtClean="0">
                <a:hlinkClick r:id="rId7"/>
              </a:rPr>
              <a:t>@lhsystems.com</a:t>
            </a:r>
            <a:endParaRPr lang="en-US" baseline="0" dirty="0" smtClean="0"/>
          </a:p>
          <a:p>
            <a:r>
              <a:rPr lang="en-US" dirty="0" smtClean="0">
                <a:hlinkClick r:id="rId8"/>
              </a:rPr>
              <a:t>https://github.com/vag1830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37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 smtClean="0"/>
              <a:t>References</a:t>
            </a:r>
            <a:endParaRPr lang="en-US" noProof="0" dirty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7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65344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nts and tricks: Presenting in front of a camer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7" y="886564"/>
            <a:ext cx="8497887" cy="3419475"/>
          </a:xfrm>
        </p:spPr>
        <p:txBody>
          <a:bodyPr/>
          <a:lstStyle/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Introduce yourself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Stand up 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Have </a:t>
            </a:r>
            <a:r>
              <a:rPr lang="en-US" sz="1050" dirty="0"/>
              <a:t>an co-moderator </a:t>
            </a:r>
            <a:r>
              <a:rPr lang="en-US" sz="1050" b="0" dirty="0"/>
              <a:t>ready for your presentation </a:t>
            </a:r>
            <a:r>
              <a:rPr lang="en-US" sz="1050" b="0" dirty="0">
                <a:sym typeface="Wingdings" panose="05000000000000000000" pitchFamily="2" charset="2"/>
              </a:rPr>
              <a:t>who </a:t>
            </a:r>
            <a:r>
              <a:rPr lang="en-US" sz="1050" dirty="0">
                <a:sym typeface="Wingdings" panose="05000000000000000000" pitchFamily="2" charset="2"/>
              </a:rPr>
              <a:t>can monitor the chat and </a:t>
            </a:r>
            <a:r>
              <a:rPr lang="en-US" sz="1050" b="0" dirty="0">
                <a:sym typeface="Wingdings" panose="05000000000000000000" pitchFamily="2" charset="2"/>
              </a:rPr>
              <a:t>who can help you to read through questions and in case you are dropped out, your helper can inform the audienc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alk with passion, the more positive and exited you are about the information you are transmitting the more people will pay attention to you</a:t>
            </a:r>
            <a:endParaRPr lang="en-US" sz="1050" b="0" dirty="0"/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gin your session using an upbeat tone that captures the audience’s attention immediately. Pace yourself so that you can maintain your energy throughout your presentation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Dress professionally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/>
              <a:t>Be sure to test your audio first to make sure the sound is clear. “People will forgive bad video, but if they can’t hear you, they’ll leave,” says Braithwaite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50" b="0" dirty="0">
                <a:sym typeface="Wingdings" panose="05000000000000000000" pitchFamily="2" charset="2"/>
              </a:rPr>
              <a:t>Try to convey emotions into your slide deck</a:t>
            </a:r>
          </a:p>
          <a:p>
            <a:pPr marL="270000" indent="-270000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50" b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Sept 01, 2022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67242389-55B8-40B0-97B3-D8452A5F367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7" name="Textfeld 6"/>
          <p:cNvSpPr txBox="1"/>
          <p:nvPr/>
        </p:nvSpPr>
        <p:spPr>
          <a:xfrm rot="812534">
            <a:off x="6648773" y="506116"/>
            <a:ext cx="1999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err="1">
                <a:solidFill>
                  <a:srgbClr val="FF0000"/>
                </a:solidFill>
              </a:rPr>
              <a:t>Please</a:t>
            </a:r>
            <a:r>
              <a:rPr lang="de-DE" sz="1200" b="1">
                <a:solidFill>
                  <a:srgbClr val="FF0000"/>
                </a:solidFill>
              </a:rPr>
              <a:t> </a:t>
            </a:r>
            <a:r>
              <a:rPr lang="de-DE" sz="1200" b="1" err="1">
                <a:solidFill>
                  <a:srgbClr val="FF0000"/>
                </a:solidFill>
              </a:rPr>
              <a:t>delete</a:t>
            </a:r>
            <a:r>
              <a:rPr lang="de-DE" sz="1200" b="1">
                <a:solidFill>
                  <a:srgbClr val="FF0000"/>
                </a:solidFill>
              </a:rPr>
              <a:t> after </a:t>
            </a:r>
            <a:r>
              <a:rPr lang="de-DE" sz="1200" b="1" err="1">
                <a:solidFill>
                  <a:srgbClr val="FF0000"/>
                </a:solidFill>
              </a:rPr>
              <a:t>reading</a:t>
            </a:r>
            <a:endParaRPr lang="de-DE" sz="12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3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Checklist </a:t>
            </a:r>
            <a:r>
              <a:rPr lang="en-US" noProof="0" dirty="0"/>
              <a:t>2</a:t>
            </a:r>
            <a:r>
              <a:rPr lang="en-US" dirty="0"/>
              <a:t>: 45 minutes presentation means max 40 min. presentation and 5 minutes Q &amp; A</a:t>
            </a:r>
            <a:r>
              <a:rPr lang="en-US" noProof="0" dirty="0"/>
              <a:t/>
            </a:r>
            <a:br>
              <a:rPr lang="en-US" noProof="0" dirty="0"/>
            </a:b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7" y="1131888"/>
            <a:ext cx="8004255" cy="3419475"/>
          </a:xfrm>
        </p:spPr>
        <p:txBody>
          <a:bodyPr vert="horz" lIns="0" tIns="0" rIns="0" bIns="0" rtlCol="0" anchor="t">
            <a:noAutofit/>
          </a:bodyPr>
          <a:lstStyle/>
          <a:p>
            <a:pPr marL="143510" lvl="2" indent="-143510"/>
            <a:r>
              <a:rPr lang="en-US" sz="1200" dirty="0">
                <a:sym typeface="Wingdings" panose="05000000000000000000" pitchFamily="2" charset="2"/>
              </a:rPr>
              <a:t>Please keep slides short! </a:t>
            </a:r>
            <a:r>
              <a:rPr lang="en-US" sz="1200" dirty="0"/>
              <a:t>Calculate only 5-10 minutes introduction to the topic using slides.</a:t>
            </a:r>
          </a:p>
          <a:p>
            <a:pPr marL="143510" lvl="2" indent="-143510"/>
            <a:endParaRPr lang="en-US" sz="1200" dirty="0"/>
          </a:p>
          <a:p>
            <a:pPr marL="143510" lvl="2" indent="-143510"/>
            <a:r>
              <a:rPr lang="en-US" sz="1200" dirty="0"/>
              <a:t>Provide as many hands-on experiences as possible! Use your Terminal and IDE.</a:t>
            </a:r>
            <a:endParaRPr lang="en-US" dirty="0"/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Stick to the time. Make sure to not present longer than 40 (+5 for Q&amp;A) minute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ry involve your audience by focusing on typical developer problems and practical solutions.</a:t>
            </a:r>
          </a:p>
          <a:p>
            <a:pPr marL="143510" lvl="2" indent="-143510"/>
            <a:endParaRPr lang="en-US" sz="1200"/>
          </a:p>
          <a:p>
            <a:pPr marL="143510" lvl="2" indent="-143510"/>
            <a:r>
              <a:rPr lang="en-US" sz="1200" dirty="0"/>
              <a:t>The audience is quite “heterogenic” in terms of expert level, you are presenting in front of Software Engineers (Software Developer, DevOps Engineer, UI/UX Engineer, Software Architect, Test Engineer or similar), so start to onboard all first and then jump deeper in the topic.</a:t>
            </a:r>
          </a:p>
          <a:p>
            <a:pPr marL="0" lvl="2" indent="0">
              <a:buNone/>
            </a:pPr>
            <a:endParaRPr lang="en-US" sz="1200"/>
          </a:p>
          <a:p>
            <a:pPr marL="143510" lvl="2" indent="-143510"/>
            <a:r>
              <a:rPr lang="en-US" sz="1200" dirty="0"/>
              <a:t>Please do a dry run before the meeting.</a:t>
            </a:r>
          </a:p>
          <a:p>
            <a:pPr marL="0" lvl="2" indent="0">
              <a:buNone/>
            </a:pPr>
            <a:endParaRPr lang="en-US" sz="1200" b="1">
              <a:solidFill>
                <a:schemeClr val="accent3"/>
              </a:solidFill>
            </a:endParaRPr>
          </a:p>
          <a:p>
            <a:pPr marL="0" lvl="2" indent="0">
              <a:buNone/>
            </a:pPr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29</a:t>
            </a:fld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  <p:sp>
        <p:nvSpPr>
          <p:cNvPr id="9" name="Textfeld 8"/>
          <p:cNvSpPr txBox="1"/>
          <p:nvPr/>
        </p:nvSpPr>
        <p:spPr>
          <a:xfrm rot="812534">
            <a:off x="6491759" y="906030"/>
            <a:ext cx="21453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 err="1">
                <a:solidFill>
                  <a:srgbClr val="FF0000"/>
                </a:solidFill>
              </a:rPr>
              <a:t>Please</a:t>
            </a:r>
            <a:r>
              <a:rPr lang="de-DE" sz="1200" b="1" dirty="0">
                <a:solidFill>
                  <a:srgbClr val="FF0000"/>
                </a:solidFill>
              </a:rPr>
              <a:t> </a:t>
            </a:r>
            <a:r>
              <a:rPr lang="de-DE" sz="1200" b="1" dirty="0" err="1">
                <a:solidFill>
                  <a:srgbClr val="FF0000"/>
                </a:solidFill>
              </a:rPr>
              <a:t>delete</a:t>
            </a:r>
            <a:r>
              <a:rPr lang="de-DE" sz="1200" b="1" dirty="0">
                <a:solidFill>
                  <a:srgbClr val="FF0000"/>
                </a:solidFill>
              </a:rPr>
              <a:t> after </a:t>
            </a:r>
            <a:r>
              <a:rPr lang="de-DE" sz="1200" b="1" dirty="0" err="1">
                <a:solidFill>
                  <a:srgbClr val="FF0000"/>
                </a:solidFill>
              </a:rPr>
              <a:t>reading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9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20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9" name="think-cell Folie" r:id="rId6" imgW="136" imgH="136" progId="TCLayout.ActiveDocument.1">
                  <p:embed/>
                </p:oleObj>
              </mc:Choice>
              <mc:Fallback>
                <p:oleObj name="think-cell Folie" r:id="rId6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Checklist 1 </a:t>
            </a:r>
            <a:r>
              <a:rPr lang="en-US" noProof="0"/>
              <a:t/>
            </a:r>
            <a:br>
              <a:rPr lang="en-US" noProof="0"/>
            </a:br>
            <a:r>
              <a:rPr lang="en-US" baseline="0" noProof="0"/>
              <a:t>File size, images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287338" y="1131888"/>
            <a:ext cx="5510518" cy="3419475"/>
          </a:xfrm>
        </p:spPr>
        <p:txBody>
          <a:bodyPr/>
          <a:lstStyle/>
          <a:p>
            <a:pPr marL="228600" lvl="2" indent="-228600">
              <a:buFont typeface="+mj-lt"/>
              <a:buAutoNum type="arabicPeriod" startAt="7"/>
            </a:pPr>
            <a:r>
              <a:rPr lang="en-US" sz="1200" b="1" baseline="0" noProof="0"/>
              <a:t>File size, images: </a:t>
            </a:r>
            <a:r>
              <a:rPr lang="en-US" sz="1200" baseline="0" noProof="0"/>
              <a:t>Images are mostly responsible for large file sizes.</a:t>
            </a:r>
          </a:p>
          <a:p>
            <a:pPr marL="334963" lvl="3" indent="-155575"/>
            <a:r>
              <a:rPr lang="en-US" sz="1200" baseline="0" noProof="0"/>
              <a:t>Only use images in the RGB color space, limit the dimensions beforehand if possible.</a:t>
            </a:r>
          </a:p>
          <a:p>
            <a:pPr marL="334963" lvl="3" indent="-155575"/>
            <a:r>
              <a:rPr lang="en-US" sz="1200" baseline="0" noProof="0"/>
              <a:t>Recommended size for full formats: 900 - 1200px width.</a:t>
            </a:r>
          </a:p>
          <a:p>
            <a:pPr marL="334963" lvl="3" indent="-155575"/>
            <a:r>
              <a:rPr lang="en-US" sz="1200" baseline="0" noProof="0"/>
              <a:t>You can adjust the settings (reduce values) under “File/Options/Advanced” if the file size is too large. </a:t>
            </a:r>
            <a:r>
              <a:rPr lang="en-US" sz="1200" noProof="0"/>
              <a:t/>
            </a:r>
            <a:br>
              <a:rPr lang="en-US" sz="1200" noProof="0"/>
            </a:br>
            <a:r>
              <a:rPr lang="en-US" sz="1200" noProof="0"/>
              <a:t/>
            </a:r>
            <a:br>
              <a:rPr lang="en-US" sz="1200" noProof="0"/>
            </a:br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Tip:</a:t>
            </a:r>
            <a:r>
              <a:rPr lang="en-US" sz="1200" baseline="0" noProof="0"/>
              <a:t> Create a backup file beforehand, as these settings are irreversible. Presentation can become unsightly.</a:t>
            </a:r>
            <a:endParaRPr lang="en-US" sz="1200" noProof="0"/>
          </a:p>
          <a:p>
            <a:pPr marL="334963" lvl="3" indent="-155575"/>
            <a:r>
              <a:rPr lang="en-US" sz="1200" baseline="0" noProof="0"/>
              <a:t>Using “Save as” rather than simply saving can also reduce the file size.</a:t>
            </a:r>
            <a:endParaRPr lang="en-US" sz="1200" noProof="0"/>
          </a:p>
          <a:p>
            <a:pPr marL="334963" lvl="3" indent="-155575"/>
            <a:r>
              <a:rPr lang="en-US" sz="1200" baseline="0" noProof="0">
                <a:solidFill>
                  <a:schemeClr val="accent5"/>
                </a:solidFill>
              </a:rPr>
              <a:t>→ </a:t>
            </a:r>
            <a:r>
              <a:rPr lang="en-US" sz="1200" b="1" baseline="0" noProof="0"/>
              <a:t>Info:</a:t>
            </a:r>
            <a:r>
              <a:rPr lang="en-US" sz="1200" baseline="0" noProof="0"/>
              <a:t> Each full image means a file size increase of about 1.5 MB.</a:t>
            </a:r>
            <a:endParaRPr lang="en-US" sz="1200" noProof="0"/>
          </a:p>
          <a:p>
            <a:pPr lvl="0"/>
            <a:endParaRPr lang="en-US" sz="1200" noProof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56480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0</a:t>
            </a:fld>
            <a:endParaRPr lang="de-DE" noProof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615711"/>
              </p:ext>
            </p:extLst>
          </p:nvPr>
        </p:nvGraphicFramePr>
        <p:xfrm>
          <a:off x="6265225" y="1134491"/>
          <a:ext cx="2520000" cy="268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activate the option “Discard editing data”, changes can no longer be undone, but data is reduced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possible, do not let PowerPoint compress the images.</a:t>
                      </a:r>
                    </a:p>
                    <a:p>
                      <a:endParaRPr lang="de-DE" sz="1000" b="0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r>
                        <a:rPr lang="en-US" sz="1000" baseline="0">
                          <a:solidFill>
                            <a:schemeClr val="bg1"/>
                          </a:solidFill>
                          <a:latin typeface="+mn-lt"/>
                        </a:rPr>
                        <a:t>Caution! </a:t>
                      </a: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If you uncheck the lower box, the image quality drops noticeably - check the loaded logos. </a:t>
                      </a:r>
                      <a: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/>
                      </a:r>
                      <a:br>
                        <a:rPr lang="de-DE" sz="1000" b="0" baseline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US" sz="1000" b="0" baseline="0">
                          <a:solidFill>
                            <a:schemeClr val="bg1"/>
                          </a:solidFill>
                          <a:latin typeface="+mn-lt"/>
                        </a:rPr>
                        <a:t>This process cannot be reversed.</a:t>
                      </a:r>
                      <a:endParaRPr lang="de-DE" sz="10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2053" y="3613235"/>
            <a:ext cx="2506344" cy="8275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2701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D67FF3EB-B567-06E4-E825-CD3A6F027449}"/>
              </a:ext>
            </a:extLst>
          </p:cNvPr>
          <p:cNvSpPr txBox="1"/>
          <p:nvPr/>
        </p:nvSpPr>
        <p:spPr>
          <a:xfrm>
            <a:off x="3200400" y="2343150"/>
            <a:ext cx="12102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de-DE" sz="1200" dirty="0" err="1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947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46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-2826" y="1115496"/>
            <a:ext cx="7493701" cy="3826460"/>
          </a:xfrm>
          <a:solidFill>
            <a:schemeClr val="bg1"/>
          </a:solidFill>
        </p:spPr>
        <p:txBody>
          <a:bodyPr vert="horz" lIns="360000" tIns="180000" rIns="0" bIns="0" rtlCol="0" anchor="ctr">
            <a:noAutofit/>
          </a:bodyPr>
          <a:lstStyle/>
          <a:p>
            <a:r>
              <a:rPr lang="de-DE" sz="1800" dirty="0">
                <a:solidFill>
                  <a:srgbClr val="05164D"/>
                </a:solidFill>
              </a:rPr>
              <a:t>Housekeeping Topics</a:t>
            </a:r>
          </a:p>
          <a:p>
            <a:endParaRPr lang="de-DE" sz="1800" dirty="0">
              <a:solidFill>
                <a:srgbClr val="05164D"/>
              </a:solidFill>
            </a:endParaRPr>
          </a:p>
          <a:p>
            <a:pPr>
              <a:spcBef>
                <a:spcPts val="600"/>
              </a:spcBef>
            </a:pPr>
            <a:r>
              <a:rPr lang="de-DE" sz="1800" dirty="0">
                <a:solidFill>
                  <a:srgbClr val="05164D"/>
                </a:solidFill>
              </a:rPr>
              <a:t>Recording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This MS Teams Call </a:t>
            </a:r>
            <a:r>
              <a:rPr lang="de-DE" sz="1800" b="0" dirty="0" err="1">
                <a:solidFill>
                  <a:srgbClr val="05164D"/>
                </a:solidFill>
              </a:rPr>
              <a:t>i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eing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recorded</a:t>
            </a:r>
            <a:r>
              <a:rPr lang="de-DE" sz="1800" b="0" dirty="0">
                <a:solidFill>
                  <a:srgbClr val="05164D"/>
                </a:solidFill>
              </a:rPr>
              <a:t>. </a:t>
            </a:r>
            <a:endParaRPr lang="en-US" sz="1800" b="0" dirty="0">
              <a:solidFill>
                <a:srgbClr val="05164D"/>
              </a:solidFill>
            </a:endParaRPr>
          </a:p>
          <a:p>
            <a:r>
              <a:rPr lang="de-DE" sz="1800" b="0" dirty="0">
                <a:solidFill>
                  <a:srgbClr val="05164D"/>
                </a:solidFill>
              </a:rPr>
              <a:t>Recording will </a:t>
            </a:r>
            <a:r>
              <a:rPr lang="de-DE" sz="1800" b="0" dirty="0" err="1">
                <a:solidFill>
                  <a:srgbClr val="05164D"/>
                </a:solidFill>
              </a:rPr>
              <a:t>b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shared</a:t>
            </a:r>
            <a:r>
              <a:rPr lang="de-DE" sz="1800" b="0" dirty="0">
                <a:solidFill>
                  <a:srgbClr val="05164D"/>
                </a:solidFill>
              </a:rPr>
              <a:t> on </a:t>
            </a:r>
            <a:r>
              <a:rPr lang="de-DE" sz="1800" b="0" dirty="0" err="1">
                <a:solidFill>
                  <a:srgbClr val="05164D"/>
                </a:solidFill>
              </a:rPr>
              <a:t>internally</a:t>
            </a:r>
            <a:r>
              <a:rPr lang="de-DE" sz="1800" b="0" dirty="0">
                <a:solidFill>
                  <a:srgbClr val="05164D"/>
                </a:solidFill>
              </a:rPr>
              <a:t> after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onference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 dirty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Audio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Participants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mu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by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default</a:t>
            </a:r>
            <a:r>
              <a:rPr lang="de-DE" sz="1800" b="0" dirty="0">
                <a:solidFill>
                  <a:srgbClr val="05164D"/>
                </a:solidFill>
              </a:rPr>
              <a:t>, </a:t>
            </a:r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ar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invited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o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en-US" sz="1800" b="0">
              <a:solidFill>
                <a:srgbClr val="05164D"/>
              </a:solidFill>
            </a:endParaRPr>
          </a:p>
          <a:p>
            <a:endParaRPr lang="de-DE" sz="1800" dirty="0">
              <a:solidFill>
                <a:srgbClr val="05164D"/>
              </a:solidFill>
            </a:endParaRPr>
          </a:p>
          <a:p>
            <a:r>
              <a:rPr lang="de-DE" sz="1800" dirty="0">
                <a:solidFill>
                  <a:srgbClr val="05164D"/>
                </a:solidFill>
              </a:rPr>
              <a:t>Q&amp;A</a:t>
            </a:r>
            <a:endParaRPr lang="en-US" sz="1800" dirty="0">
              <a:solidFill>
                <a:srgbClr val="05164D"/>
              </a:solidFill>
            </a:endParaRPr>
          </a:p>
          <a:p>
            <a:r>
              <a:rPr lang="de-DE" sz="1800" b="0" dirty="0" err="1">
                <a:solidFill>
                  <a:srgbClr val="05164D"/>
                </a:solidFill>
              </a:rPr>
              <a:t>You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an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pos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your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questions</a:t>
            </a:r>
            <a:r>
              <a:rPr lang="de-DE" sz="1800" b="0" dirty="0">
                <a:solidFill>
                  <a:srgbClr val="05164D"/>
                </a:solidFill>
              </a:rPr>
              <a:t> in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chat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window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or</a:t>
            </a:r>
            <a:r>
              <a:rPr lang="de-DE" sz="1800" b="0" dirty="0">
                <a:solidFill>
                  <a:srgbClr val="05164D"/>
                </a:solidFill>
              </a:rPr>
              <a:t> at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end </a:t>
            </a:r>
            <a:r>
              <a:rPr lang="de-DE" sz="1800" b="0" dirty="0" err="1">
                <a:solidFill>
                  <a:srgbClr val="05164D"/>
                </a:solidFill>
              </a:rPr>
              <a:t>of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  <a:r>
              <a:rPr lang="de-DE" sz="1800" b="0" dirty="0" err="1">
                <a:solidFill>
                  <a:srgbClr val="05164D"/>
                </a:solidFill>
              </a:rPr>
              <a:t>the</a:t>
            </a:r>
            <a:r>
              <a:rPr lang="de-DE" sz="1800" b="0" dirty="0">
                <a:solidFill>
                  <a:srgbClr val="05164D"/>
                </a:solidFill>
              </a:rPr>
              <a:t> </a:t>
            </a:r>
          </a:p>
          <a:p>
            <a:r>
              <a:rPr lang="de-DE" sz="1800" b="0" dirty="0" err="1">
                <a:solidFill>
                  <a:srgbClr val="05164D"/>
                </a:solidFill>
              </a:rPr>
              <a:t>presentation</a:t>
            </a:r>
            <a:r>
              <a:rPr lang="de-DE" sz="1800" b="0" dirty="0">
                <a:solidFill>
                  <a:srgbClr val="05164D"/>
                </a:solidFill>
              </a:rPr>
              <a:t>.</a:t>
            </a:r>
            <a:endParaRPr lang="de-DE" dirty="0"/>
          </a:p>
          <a:p>
            <a:pPr lvl="1"/>
            <a:endParaRPr lang="de-DE" sz="2000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9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917807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upitis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iasitiae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et </a:t>
                      </a:r>
                      <a:r>
                        <a:rPr kumimoji="0" lang="en-US" sz="2800" kern="1200" normalizeH="0" baseline="0" noProof="0" dirty="0" err="1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 dirty="0" smtClean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0516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0516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bg1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69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8C815-B310-AA68-C23C-8D02FB07BDE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287337" y="4790748"/>
            <a:ext cx="2160000" cy="92333"/>
          </a:xfrm>
        </p:spPr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0FA84-82B0-1C8C-208A-0FCA0EAB19D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87338" y="4695825"/>
            <a:ext cx="2160000" cy="92333"/>
          </a:xfrm>
        </p:spPr>
        <p:txBody>
          <a:bodyPr/>
          <a:lstStyle/>
          <a:p>
            <a:r>
              <a:rPr lang="en-US" baseline="0" dirty="0"/>
              <a:t>LSY Developer Conferenc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7881ED-BE8B-B8D4-EB02-BCBA581162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7338" y="4885671"/>
            <a:ext cx="335028" cy="92333"/>
          </a:xfrm>
        </p:spPr>
        <p:txBody>
          <a:bodyPr/>
          <a:lstStyle/>
          <a:p>
            <a:r>
              <a:rPr lang="en-US" dirty="0"/>
              <a:t>Page </a:t>
            </a:r>
            <a:fld id="{67242389-55B8-40B0-97B3-D8452A5F367E}" type="slidenum">
              <a:rPr dirty="0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91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4693" y="1957706"/>
            <a:ext cx="462116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>
                <a:solidFill>
                  <a:srgbClr val="05164D"/>
                </a:solidFill>
              </a:rPr>
              <a:t>Your topic number</a:t>
            </a:r>
          </a:p>
        </p:txBody>
      </p:sp>
    </p:spTree>
    <p:extLst>
      <p:ext uri="{BB962C8B-B14F-4D97-AF65-F5344CB8AC3E}">
        <p14:creationId xmlns:p14="http://schemas.microsoft.com/office/powerpoint/2010/main" val="215707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5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94085"/>
              </p:ext>
            </p:extLst>
          </p:nvPr>
        </p:nvGraphicFramePr>
        <p:xfrm>
          <a:off x="290513" y="880300"/>
          <a:ext cx="4352925" cy="3101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2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Here is a quote! Rupitis tiasitiae </a:t>
                      </a:r>
                      <a: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de-DE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rero et </a:t>
                      </a:r>
                      <a:r>
                        <a:rPr kumimoji="0" lang="en-US" sz="2800" kern="1200" normalizeH="0" baseline="0" noProof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xerumq</a:t>
                      </a: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US" sz="2800" b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2800" kern="120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ohn Doe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134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4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2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noProof="0"/>
              <a:t>Show eye-catching </a:t>
            </a:r>
            <a:r>
              <a:rPr lang="en-US" baseline="0" noProof="0">
                <a:solidFill>
                  <a:schemeClr val="accent5"/>
                </a:solidFill>
              </a:rPr>
              <a:t>text </a:t>
            </a:r>
            <a:r>
              <a:rPr lang="en-US" baseline="0" noProof="0"/>
              <a:t>like thi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49429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1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aseline="0" dirty="0"/>
              <a:t>A separating slide with text can look like this. </a:t>
            </a:r>
            <a:r>
              <a:rPr lang="de-DE" dirty="0"/>
              <a:t/>
            </a:r>
            <a:br>
              <a:rPr lang="de-DE" dirty="0"/>
            </a:br>
            <a:r>
              <a:rPr lang="en-US" baseline="0" dirty="0"/>
              <a:t>Here too, </a:t>
            </a:r>
            <a:r>
              <a:rPr lang="en-US" baseline="0" dirty="0">
                <a:solidFill>
                  <a:schemeClr val="accent5"/>
                </a:solidFill>
              </a:rPr>
              <a:t>highlights </a:t>
            </a:r>
            <a:r>
              <a:rPr lang="en-US" baseline="0" dirty="0"/>
              <a:t>can be in yellow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39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52561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4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el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714717"/>
              </p:ext>
            </p:extLst>
          </p:nvPr>
        </p:nvGraphicFramePr>
        <p:xfrm>
          <a:off x="290513" y="1499841"/>
          <a:ext cx="6336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gile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ke </a:t>
                      </a:r>
                      <a:r>
                        <a:rPr lang="en-US" sz="1600" b="0" kern="1200" baseline="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ways</a:t>
                      </a:r>
                      <a:endParaRPr lang="en-US" sz="16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me Theory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s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ve into the Code</a:t>
                      </a: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0" b="1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endParaRPr lang="en-US" sz="160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36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15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5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0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74133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51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de-DE" sz="2000" b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1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5785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7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BE61AD16-D88A-D9D7-A8ED-AE39C5C3442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t="5762" b="5762"/>
          <a:stretch/>
        </p:blipFill>
        <p:spPr/>
      </p:pic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>
                <a:solidFill>
                  <a:srgbClr val="FFFFFF"/>
                </a:solidFill>
              </a:rPr>
              <a:t>Layout with wallpaper</a:t>
            </a:r>
            <a:endParaRPr lang="en-US" noProof="0">
              <a:solidFill>
                <a:srgbClr val="FFFFFF"/>
              </a:solidFill>
            </a:endParaRPr>
          </a:p>
        </p:txBody>
      </p:sp>
      <p:sp>
        <p:nvSpPr>
          <p:cNvPr id="25" name="Inhaltsplatzhalter 24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aseline="0"/>
              <a:t>First-level text, </a:t>
            </a:r>
            <a:endParaRPr lang="en-US"/>
          </a:p>
          <a:p>
            <a:pPr lvl="0"/>
            <a:r>
              <a:rPr lang="en-US" baseline="0"/>
              <a:t>Lufthansa Office Head</a:t>
            </a:r>
            <a:endParaRPr lang="en-US"/>
          </a:p>
          <a:p>
            <a:pPr lvl="1"/>
            <a:r>
              <a:rPr lang="en-US" baseline="0"/>
              <a:t>Second-level text</a:t>
            </a:r>
          </a:p>
          <a:p>
            <a:pPr marL="143510" lvl="2" indent="-143510"/>
            <a:r>
              <a:rPr lang="en-US" baseline="0"/>
              <a:t>Third-level text</a:t>
            </a:r>
          </a:p>
          <a:p>
            <a:pPr marL="287655" lvl="3" indent="-143510"/>
            <a:r>
              <a:rPr lang="en-US" baseline="0"/>
              <a:t>Fourth-level text</a:t>
            </a:r>
          </a:p>
          <a:p>
            <a:pPr marL="431800" lvl="4" indent="-143510"/>
            <a:r>
              <a:rPr lang="en-US" baseline="0"/>
              <a:t>Fifth-level text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2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06236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32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 dirty="0"/>
              <a:t>Layout with 2 text columns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baseline="0"/>
              <a:t>First-level text, Lufthansa Office Head</a:t>
            </a:r>
          </a:p>
          <a:p>
            <a:pPr lvl="1"/>
            <a:r>
              <a:rPr lang="en-US" baseline="0"/>
              <a:t>Second-level text</a:t>
            </a:r>
          </a:p>
          <a:p>
            <a:pPr lvl="2"/>
            <a:r>
              <a:rPr lang="en-US" baseline="0"/>
              <a:t>Third-level text</a:t>
            </a:r>
          </a:p>
          <a:p>
            <a:pPr lvl="3"/>
            <a:r>
              <a:rPr lang="en-US" baseline="0"/>
              <a:t>Fourth-level text</a:t>
            </a:r>
          </a:p>
          <a:p>
            <a:pPr lvl="4"/>
            <a:r>
              <a:rPr lang="en-US" baseline="0"/>
              <a:t>Fifth-level text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3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187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Layout with text and image</a:t>
            </a:r>
            <a:endParaRPr lang="en-US" noProof="0"/>
          </a:p>
        </p:txBody>
      </p:sp>
      <p:sp>
        <p:nvSpPr>
          <p:cNvPr id="27" name="Inhaltsplatzhalter 2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 baseline="0" dirty="0"/>
              <a:t>First-level text, Lufthansa Office Head</a:t>
            </a:r>
          </a:p>
          <a:p>
            <a:pPr lvl="1"/>
            <a:r>
              <a:rPr lang="en-US" baseline="0" dirty="0"/>
              <a:t>Second-level text</a:t>
            </a:r>
          </a:p>
          <a:p>
            <a:pPr lvl="2"/>
            <a:r>
              <a:rPr lang="en-US" baseline="0" dirty="0"/>
              <a:t>Third-level text</a:t>
            </a:r>
          </a:p>
          <a:p>
            <a:pPr lvl="3"/>
            <a:r>
              <a:rPr lang="en-US" baseline="0" dirty="0"/>
              <a:t>Fourth-level text</a:t>
            </a:r>
          </a:p>
          <a:p>
            <a:pPr lvl="4"/>
            <a:r>
              <a:rPr lang="en-US" baseline="0" dirty="0"/>
              <a:t>Fifth-level text</a:t>
            </a: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3D49B2C7-9A1E-76F8-0ED9-65CA75136B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4062" r="14062"/>
          <a:stretch/>
        </p:blipFill>
        <p:spPr/>
      </p:pic>
      <p:sp>
        <p:nvSpPr>
          <p:cNvPr id="31" name="Fußzeilenplatzhalter 3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4</a:t>
            </a:fld>
            <a:endParaRPr lang="de-DE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32458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aseline="0"/>
              <a:t>Your presenter was: &lt;name&gt;</a:t>
            </a:r>
            <a:r>
              <a:rPr lang="en-US"/>
              <a:t/>
            </a:r>
            <a:br>
              <a:rPr lang="en-US"/>
            </a:br>
            <a:r>
              <a:rPr lang="en-US" baseline="0"/>
              <a:t>&lt;name&gt;@lhsystems.com</a:t>
            </a:r>
            <a:endParaRPr lang="en-US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10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12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1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/>
          <p:nvPr/>
        </p:nvGrpSpPr>
        <p:grpSpPr>
          <a:xfrm>
            <a:off x="252252" y="1108544"/>
            <a:ext cx="1944000" cy="1944000"/>
            <a:chOff x="252252" y="1500013"/>
            <a:chExt cx="1944000" cy="1944000"/>
          </a:xfrm>
        </p:grpSpPr>
        <p:sp>
          <p:nvSpPr>
            <p:cNvPr id="9" name="Ellipse 8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aseline="0"/>
                <a:t>0</a:t>
              </a:r>
              <a:endParaRPr lang="en-US"/>
            </a:p>
          </p:txBody>
        </p:sp>
        <p:sp>
          <p:nvSpPr>
            <p:cNvPr id="11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baseline="0"/>
                <a:t>Yellow number and then enter the text here.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116605"/>
              </p:ext>
            </p:extLst>
          </p:nvPr>
        </p:nvGraphicFramePr>
        <p:xfrm>
          <a:off x="4535930" y="1245057"/>
          <a:ext cx="1257012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149318" y="1314195"/>
            <a:ext cx="2496789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1100" b="1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100" kern="120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957625"/>
              </p:ext>
            </p:extLst>
          </p:nvPr>
        </p:nvGraphicFramePr>
        <p:xfrm>
          <a:off x="158750" y="3103133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04838"/>
              </p:ext>
            </p:extLst>
          </p:nvPr>
        </p:nvGraphicFramePr>
        <p:xfrm>
          <a:off x="158750" y="4121782"/>
          <a:ext cx="4268788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8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360000" marR="288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6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60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8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86635" y="303213"/>
            <a:ext cx="8498590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aseline="0">
                <a:solidFill>
                  <a:srgbClr val="D81E05"/>
                </a:solidFill>
              </a:rPr>
              <a:t>Collection of graphic elements</a:t>
            </a:r>
          </a:p>
          <a:p>
            <a:pPr lvl="0"/>
            <a:r>
              <a:rPr lang="en-US" b="0" baseline="0">
                <a:solidFill>
                  <a:srgbClr val="D81E05"/>
                </a:solidFill>
              </a:rPr>
              <a:t>Copy required graphic elements into the layout.</a:t>
            </a:r>
            <a:endParaRPr lang="en-US" b="0">
              <a:solidFill>
                <a:srgbClr val="D81E05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7108353" y="2880196"/>
            <a:ext cx="1728000" cy="1728000"/>
            <a:chOff x="6841225" y="3395538"/>
            <a:chExt cx="1728000" cy="1728000"/>
          </a:xfrm>
        </p:grpSpPr>
        <p:sp>
          <p:nvSpPr>
            <p:cNvPr id="21" name="Ellipse 20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2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300" baseline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64569"/>
              </p:ext>
            </p:extLst>
          </p:nvPr>
        </p:nvGraphicFramePr>
        <p:xfrm>
          <a:off x="5806618" y="1131888"/>
          <a:ext cx="2972551" cy="12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80000" marR="180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80000" marR="180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254923"/>
              </p:ext>
            </p:extLst>
          </p:nvPr>
        </p:nvGraphicFramePr>
        <p:xfrm>
          <a:off x="290513" y="1136661"/>
          <a:ext cx="4137025" cy="2297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468000" marR="468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355620"/>
              </p:ext>
            </p:extLst>
          </p:nvPr>
        </p:nvGraphicFramePr>
        <p:xfrm>
          <a:off x="290513" y="3149663"/>
          <a:ext cx="4137025" cy="119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80000" marR="180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de-DE" sz="5400" baseline="3900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4000" b="0" i="0" u="none" strike="noStrike" kern="1200" cap="none" spc="0" normalizeH="0" baseline="3900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504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baseline="0"/>
              <a:t>Page </a:t>
            </a:r>
            <a:fld id="{67242389-55B8-40B0-97B3-D8452A5F367E}" type="slidenum">
              <a:rPr smtClean="0"/>
              <a:pPr/>
              <a:t>47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6328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1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aseline="0" noProof="0"/>
              <a:t>Usage examples</a:t>
            </a:r>
            <a:endParaRPr lang="en-US" noProof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820697"/>
              </p:ext>
            </p:extLst>
          </p:nvPr>
        </p:nvGraphicFramePr>
        <p:xfrm>
          <a:off x="182121" y="1061752"/>
          <a:ext cx="2721756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1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b="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r>
                        <a:rPr lang="en-US" sz="1400" b="1" baseline="0">
                          <a:solidFill>
                            <a:schemeClr val="accent3"/>
                          </a:solidFill>
                          <a:latin typeface="+mn-lt"/>
                        </a:rPr>
                        <a:t>Lufthansa Systems offers its roughly 350 airline customers a unique range of successful and - in many cases - market-leading products covering all areas of an airline’s business processes – in the cockpit, in the cabin and on the ground.</a:t>
                      </a:r>
                    </a:p>
                  </a:txBody>
                  <a:tcPr marL="360000" marR="18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82129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48</a:t>
            </a:fld>
            <a:endParaRPr lang="de-DE" noProof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769137"/>
              </p:ext>
            </p:extLst>
          </p:nvPr>
        </p:nvGraphicFramePr>
        <p:xfrm>
          <a:off x="4535929" y="1061752"/>
          <a:ext cx="3276533" cy="27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de-DE" sz="1800" b="0" kern="120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  <a:p>
                      <a:pPr algn="ctr"/>
                      <a:endParaRPr lang="de-DE" sz="1400" b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360000" marR="36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4729503" y="1274777"/>
            <a:ext cx="3125585" cy="2330586"/>
            <a:chOff x="4644251" y="950111"/>
            <a:chExt cx="3125585" cy="2330586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138" y="1131888"/>
              <a:ext cx="958580" cy="9585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0637" y="950111"/>
              <a:ext cx="395388" cy="395388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4454" y="1660824"/>
              <a:ext cx="825229" cy="825229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4644251" y="1803369"/>
              <a:ext cx="3125585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9600" baseline="0">
                  <a:solidFill>
                    <a:srgbClr val="05164D"/>
                  </a:solidFill>
                </a:rPr>
                <a:t>45%</a:t>
              </a:r>
              <a:endParaRPr lang="de-DE" sz="120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86877" y="2996244"/>
              <a:ext cx="251215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en-US" sz="1600" b="1" baseline="0">
                  <a:solidFill>
                    <a:schemeClr val="accent3"/>
                  </a:solidFill>
                  <a:latin typeface="+mj-lt"/>
                </a:rPr>
                <a:t>quia eossitet lorem ipsum</a:t>
              </a:r>
              <a:endParaRPr lang="de-DE" sz="1600" b="1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baseline="0"/>
              <a:t>Sept 01, 2022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3365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baseline="0" noProof="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0" y="1958400"/>
            <a:ext cx="4179201" cy="1841250"/>
          </a:xfrm>
          <a:solidFill>
            <a:schemeClr val="bg1"/>
          </a:solidFill>
        </p:spPr>
        <p:txBody>
          <a:bodyPr vert="horz" lIns="360000" tIns="180000" rIns="0" bIns="0" rtlCol="0" anchor="t">
            <a:noAutofit/>
          </a:bodyPr>
          <a:lstStyle/>
          <a:p>
            <a:pPr lvl="1"/>
            <a:r>
              <a:rPr lang="en-US" dirty="0" smtClean="0">
                <a:solidFill>
                  <a:srgbClr val="05164D"/>
                </a:solidFill>
              </a:rPr>
              <a:t>Agile</a:t>
            </a:r>
            <a:endParaRPr lang="en-US" dirty="0">
              <a:solidFill>
                <a:srgbClr val="051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>
                <a:solidFill>
                  <a:srgbClr val="FFAD00"/>
                </a:solidFill>
              </a:rPr>
              <a:t>Agile</a:t>
            </a:r>
            <a:r>
              <a:rPr lang="en-GB" dirty="0" smtClean="0"/>
              <a:t>?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6</a:t>
            </a:fld>
            <a:endParaRPr lang="de-DE"/>
          </a:p>
        </p:txBody>
      </p:sp>
      <p:graphicFrame>
        <p:nvGraphicFramePr>
          <p:cNvPr id="7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711389"/>
              </p:ext>
            </p:extLst>
          </p:nvPr>
        </p:nvGraphicFramePr>
        <p:xfrm>
          <a:off x="2187333" y="723685"/>
          <a:ext cx="4697895" cy="1672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7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1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ble to move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asily</a:t>
                      </a:r>
                      <a:r>
                        <a:rPr kumimoji="0" lang="en-US" sz="20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20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gle and several dictionaries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77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550359"/>
              </p:ext>
            </p:extLst>
          </p:nvPr>
        </p:nvGraphicFramePr>
        <p:xfrm>
          <a:off x="375129" y="1943668"/>
          <a:ext cx="4161151" cy="2130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595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an iterative approach to project management and software development that helps teams deliver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alue to their customers faster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th fewer headaches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”</a:t>
                      </a:r>
                      <a:endParaRPr kumimoji="0" lang="en-US" sz="140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lassian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025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586365"/>
              </p:ext>
            </p:extLst>
          </p:nvPr>
        </p:nvGraphicFramePr>
        <p:xfrm>
          <a:off x="4789125" y="2305740"/>
          <a:ext cx="2880000" cy="253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6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“Agile is the ability to create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spond to change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. It is a way of dealing with, and ultimately succeeding in, an uncertain and 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urbulent environment.</a:t>
                      </a:r>
                      <a:r>
                        <a:rPr kumimoji="0" lang="en-US" sz="140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”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Alliance</a:t>
                      </a:r>
                      <a:endParaRPr kumimoji="0" lang="en-US" sz="1200" b="0" kern="120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08">
                <a:tc>
                  <a:txBody>
                    <a:bodyPr/>
                    <a:lstStyle/>
                    <a:p>
                      <a:pPr algn="r"/>
                      <a:r>
                        <a:rPr lang="de-DE" sz="6600" baseline="39000" dirty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de-DE" sz="6000" b="0" i="0" u="none" strike="noStrike" kern="1200" cap="none" spc="0" normalizeH="0" baseline="390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612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6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87337" y="527052"/>
            <a:ext cx="7589837" cy="3806823"/>
          </a:xfrm>
        </p:spPr>
        <p:txBody>
          <a:bodyPr/>
          <a:lstStyle/>
          <a:p>
            <a:r>
              <a:rPr lang="en-US" sz="8000" baseline="0" noProof="0" dirty="0" smtClean="0"/>
              <a:t>Why</a:t>
            </a:r>
            <a:r>
              <a:rPr lang="en-US" sz="8000" noProof="0" dirty="0" smtClean="0"/>
              <a:t> </a:t>
            </a:r>
            <a:r>
              <a:rPr lang="en-US" sz="8000" baseline="0" noProof="0" dirty="0" smtClean="0">
                <a:solidFill>
                  <a:schemeClr val="accent5"/>
                </a:solidFill>
              </a:rPr>
              <a:t>Agile </a:t>
            </a:r>
            <a:r>
              <a:rPr lang="en-US" sz="8000" baseline="0" noProof="0" dirty="0" smtClean="0"/>
              <a:t>Software Architecture?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7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129433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2089" y="974727"/>
            <a:ext cx="7847012" cy="3140073"/>
          </a:xfrm>
        </p:spPr>
        <p:txBody>
          <a:bodyPr/>
          <a:lstStyle/>
          <a:p>
            <a:r>
              <a:rPr lang="en-US" sz="8000" baseline="0" noProof="0" dirty="0" smtClean="0">
                <a:solidFill>
                  <a:schemeClr val="accent5"/>
                </a:solidFill>
              </a:rPr>
              <a:t>Scrum </a:t>
            </a:r>
            <a:r>
              <a:rPr lang="en-US" sz="8000" dirty="0" smtClean="0"/>
              <a:t>does not mean </a:t>
            </a:r>
            <a:r>
              <a:rPr lang="en-US" sz="8000" dirty="0" smtClean="0">
                <a:solidFill>
                  <a:srgbClr val="FFAD00"/>
                </a:solidFill>
              </a:rPr>
              <a:t>Agile</a:t>
            </a:r>
            <a:r>
              <a:rPr lang="en-US" sz="8000" dirty="0" smtClean="0"/>
              <a:t>.</a:t>
            </a:r>
            <a:endParaRPr lang="en-US" sz="8000" baseline="0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/>
              <a:t>LSY Developer Conferenc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287338" y="4885671"/>
            <a:ext cx="278923" cy="92333"/>
          </a:xfrm>
        </p:spPr>
        <p:txBody>
          <a:bodyPr/>
          <a:lstStyle/>
          <a:p>
            <a:r>
              <a:rPr lang="en-US" baseline="0" noProof="0"/>
              <a:t>Page </a:t>
            </a:r>
            <a:fld id="{67242389-55B8-40B0-97B3-D8452A5F367E}" type="slidenum">
              <a:pPr/>
              <a:t>8</a:t>
            </a:fld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Sept 01, 2022</a:t>
            </a:r>
          </a:p>
        </p:txBody>
      </p:sp>
    </p:spTree>
    <p:extLst>
      <p:ext uri="{BB962C8B-B14F-4D97-AF65-F5344CB8AC3E}">
        <p14:creationId xmlns:p14="http://schemas.microsoft.com/office/powerpoint/2010/main" val="393436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Misconception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87337" y="1598613"/>
            <a:ext cx="8497887" cy="1811337"/>
          </a:xfrm>
        </p:spPr>
        <p:txBody>
          <a:bodyPr/>
          <a:lstStyle/>
          <a:p>
            <a:pPr algn="ctr"/>
            <a:r>
              <a:rPr lang="en-US" sz="5400" dirty="0" smtClean="0">
                <a:solidFill>
                  <a:srgbClr val="FFAD00"/>
                </a:solidFill>
              </a:rPr>
              <a:t>Front-end</a:t>
            </a:r>
            <a:r>
              <a:rPr lang="en-US" sz="5400" dirty="0" smtClean="0">
                <a:solidFill>
                  <a:srgbClr val="05164D"/>
                </a:solidFill>
              </a:rPr>
              <a:t> vs </a:t>
            </a:r>
            <a:r>
              <a:rPr lang="en-US" sz="5400" dirty="0" smtClean="0">
                <a:solidFill>
                  <a:srgbClr val="FFAD00"/>
                </a:solidFill>
              </a:rPr>
              <a:t>Backend</a:t>
            </a:r>
          </a:p>
          <a:p>
            <a:pPr algn="ctr"/>
            <a:r>
              <a:rPr lang="en-US" sz="5400" dirty="0" smtClean="0">
                <a:solidFill>
                  <a:srgbClr val="05164D"/>
                </a:solidFill>
              </a:rPr>
              <a:t>Client-side vs Server-side</a:t>
            </a:r>
            <a:endParaRPr lang="de-CH" sz="5400" dirty="0">
              <a:solidFill>
                <a:srgbClr val="05164D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Sept 01, 2022</a:t>
            </a:r>
            <a:endParaRPr lang="de-DE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baseline="0" smtClean="0"/>
              <a:t>LSY Developer Confer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5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EUYuQweLFOoq1s9A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rjykyQyq1lkM1WM3j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0bQn3R_SXUY6ZszDO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11EDACB0142D49BF8A5BE4A419AFA3" ma:contentTypeVersion="4" ma:contentTypeDescription="Create a new document." ma:contentTypeScope="" ma:versionID="86fb05fd6e0bb0c57b9bd09c382e3acb">
  <xsd:schema xmlns:xsd="http://www.w3.org/2001/XMLSchema" xmlns:xs="http://www.w3.org/2001/XMLSchema" xmlns:p="http://schemas.microsoft.com/office/2006/metadata/properties" xmlns:ns2="330bdd64-2cd7-4742-b7a5-c2d8fa312a38" targetNamespace="http://schemas.microsoft.com/office/2006/metadata/properties" ma:root="true" ma:fieldsID="780021a8138e1da9ab3e73fc28ed5b30" ns2:_="">
    <xsd:import namespace="330bdd64-2cd7-4742-b7a5-c2d8fa312a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bdd64-2cd7-4742-b7a5-c2d8fa312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EA8799-28BD-47E2-8819-4BD7D31D290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330bdd64-2cd7-4742-b7a5-c2d8fa312a3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724530-E925-4DD3-9BC1-88FCD3735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18C2C3-24EE-409F-983E-677EDE0535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0bdd64-2cd7-4742-b7a5-c2d8fa312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7</Words>
  <Application>Microsoft Office PowerPoint</Application>
  <PresentationFormat>On-screen Show (16:9)</PresentationFormat>
  <Paragraphs>404</Paragraphs>
  <Slides>48</Slides>
  <Notes>38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5" baseType="lpstr">
      <vt:lpstr>Lufthansa Office Text</vt:lpstr>
      <vt:lpstr>Lufthansa Office Head</vt:lpstr>
      <vt:lpstr>Wingdings 3</vt:lpstr>
      <vt:lpstr>Arial</vt:lpstr>
      <vt:lpstr>Wingdings</vt:lpstr>
      <vt:lpstr>Lufthansa Systems Template 16 : 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Agile?</vt:lpstr>
      <vt:lpstr>PowerPoint Presentation</vt:lpstr>
      <vt:lpstr>PowerPoint Presentation</vt:lpstr>
      <vt:lpstr>Common Misconception</vt:lpstr>
      <vt:lpstr>PowerPoint Presentation</vt:lpstr>
      <vt:lpstr>Productivity by release</vt:lpstr>
      <vt:lpstr>Cost by release</vt:lpstr>
      <vt:lpstr>PowerPoint Presentation</vt:lpstr>
      <vt:lpstr>PowerPoint Presentation</vt:lpstr>
      <vt:lpstr>Clean Architecture</vt:lpstr>
      <vt:lpstr>Hexagonal Architecture</vt:lpstr>
      <vt:lpstr>Ports &amp; Adapters </vt:lpstr>
      <vt:lpstr>SOLID</vt:lpstr>
      <vt:lpstr>PowerPoint Presentation</vt:lpstr>
      <vt:lpstr>PowerPoint Presentation</vt:lpstr>
      <vt:lpstr>Quote</vt:lpstr>
      <vt:lpstr>Conclusion</vt:lpstr>
      <vt:lpstr>PowerPoint Presentation</vt:lpstr>
      <vt:lpstr>References</vt:lpstr>
      <vt:lpstr>PowerPoint Presentation</vt:lpstr>
      <vt:lpstr>PowerPoint Presentation</vt:lpstr>
      <vt:lpstr>References</vt:lpstr>
      <vt:lpstr>Hints and tricks: Presenting in front of a camera</vt:lpstr>
      <vt:lpstr>Checklist 2: 45 minutes presentation means max 40 min. presentation and 5 minutes Q &amp; A </vt:lpstr>
      <vt:lpstr>Checklist 1  File size, im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yout with text</vt:lpstr>
      <vt:lpstr>Layout with wallpaper</vt:lpstr>
      <vt:lpstr>Layout with 2 text columns</vt:lpstr>
      <vt:lpstr>Layout with text and image</vt:lpstr>
      <vt:lpstr>PowerPoint Presentation</vt:lpstr>
      <vt:lpstr>PowerPoint Presentation</vt:lpstr>
      <vt:lpstr>PowerPoint Presentation</vt:lpstr>
      <vt:lpstr>Usage examp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EBD</dc:creator>
  <cp:keywords/>
  <dc:description/>
  <cp:lastModifiedBy>EvangelosBarmpas</cp:lastModifiedBy>
  <cp:revision>214</cp:revision>
  <dcterms:created xsi:type="dcterms:W3CDTF">2018-01-31T08:58:58Z</dcterms:created>
  <dcterms:modified xsi:type="dcterms:W3CDTF">2022-08-29T11:34:2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1c7476-f302-47ca-97a0-972f32671471_Enabled">
    <vt:lpwstr>true</vt:lpwstr>
  </property>
  <property fmtid="{D5CDD505-2E9C-101B-9397-08002B2CF9AE}" pid="3" name="MSIP_Label_2d1c7476-f302-47ca-97a0-972f32671471_SetDate">
    <vt:lpwstr>2022-07-04T11:53:54Z</vt:lpwstr>
  </property>
  <property fmtid="{D5CDD505-2E9C-101B-9397-08002B2CF9AE}" pid="4" name="MSIP_Label_2d1c7476-f302-47ca-97a0-972f32671471_Method">
    <vt:lpwstr>Standard</vt:lpwstr>
  </property>
  <property fmtid="{D5CDD505-2E9C-101B-9397-08002B2CF9AE}" pid="5" name="MSIP_Label_2d1c7476-f302-47ca-97a0-972f32671471_Name">
    <vt:lpwstr>Internal</vt:lpwstr>
  </property>
  <property fmtid="{D5CDD505-2E9C-101B-9397-08002B2CF9AE}" pid="6" name="MSIP_Label_2d1c7476-f302-47ca-97a0-972f32671471_SiteId">
    <vt:lpwstr>72e15514-5be9-46a8-8b0b-af9b1b77b3b8</vt:lpwstr>
  </property>
  <property fmtid="{D5CDD505-2E9C-101B-9397-08002B2CF9AE}" pid="7" name="MSIP_Label_2d1c7476-f302-47ca-97a0-972f32671471_ActionId">
    <vt:lpwstr>fd6e05d6-242d-4c9b-b766-58766d84138f</vt:lpwstr>
  </property>
  <property fmtid="{D5CDD505-2E9C-101B-9397-08002B2CF9AE}" pid="8" name="MSIP_Label_2d1c7476-f302-47ca-97a0-972f32671471_ContentBits">
    <vt:lpwstr>0</vt:lpwstr>
  </property>
  <property fmtid="{D5CDD505-2E9C-101B-9397-08002B2CF9AE}" pid="9" name="ContentTypeId">
    <vt:lpwstr>0x010100B811EDACB0142D49BF8A5BE4A419AFA3</vt:lpwstr>
  </property>
</Properties>
</file>